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258" r:id="rId2"/>
    <p:sldId id="259"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CCFA5D-BB81-4901-A6B2-31D5673C8CF8}" v="483" dt="2023-07-10T08:36:14.6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6323" autoAdjust="0"/>
  </p:normalViewPr>
  <p:slideViewPr>
    <p:cSldViewPr snapToGrid="0">
      <p:cViewPr>
        <p:scale>
          <a:sx n="66" d="100"/>
          <a:sy n="66" d="100"/>
        </p:scale>
        <p:origin x="1824" y="501"/>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ung, Kenneth" userId="a31136a0-b1a6-47ba-8b40-d38c5cdd8f98" providerId="ADAL" clId="{BFCCFA5D-BB81-4901-A6B2-31D5673C8CF8}"/>
    <pc:docChg chg="undo custSel addSld delSld modSld replTag">
      <pc:chgData name="Leung, Kenneth" userId="a31136a0-b1a6-47ba-8b40-d38c5cdd8f98" providerId="ADAL" clId="{BFCCFA5D-BB81-4901-A6B2-31D5673C8CF8}" dt="2023-07-10T08:45:25.861" v="2022" actId="478"/>
      <pc:docMkLst>
        <pc:docMk/>
      </pc:docMkLst>
      <pc:sldChg chg="del">
        <pc:chgData name="Leung, Kenneth" userId="a31136a0-b1a6-47ba-8b40-d38c5cdd8f98" providerId="ADAL" clId="{BFCCFA5D-BB81-4901-A6B2-31D5673C8CF8}" dt="2023-07-10T06:57:23.537" v="3" actId="47"/>
        <pc:sldMkLst>
          <pc:docMk/>
          <pc:sldMk cId="1906196370" sldId="256"/>
        </pc:sldMkLst>
      </pc:sldChg>
      <pc:sldChg chg="del">
        <pc:chgData name="Leung, Kenneth" userId="a31136a0-b1a6-47ba-8b40-d38c5cdd8f98" providerId="ADAL" clId="{BFCCFA5D-BB81-4901-A6B2-31D5673C8CF8}" dt="2023-07-10T06:57:23.106" v="2" actId="47"/>
        <pc:sldMkLst>
          <pc:docMk/>
          <pc:sldMk cId="115380135" sldId="257"/>
        </pc:sldMkLst>
      </pc:sldChg>
      <pc:sldChg chg="addSp delSp modSp new add mod">
        <pc:chgData name="Leung, Kenneth" userId="a31136a0-b1a6-47ba-8b40-d38c5cdd8f98" providerId="ADAL" clId="{BFCCFA5D-BB81-4901-A6B2-31D5673C8CF8}" dt="2023-07-10T08:45:25.861" v="2022" actId="478"/>
        <pc:sldMkLst>
          <pc:docMk/>
          <pc:sldMk cId="3253787467" sldId="259"/>
        </pc:sldMkLst>
        <pc:spChg chg="del mod">
          <ac:chgData name="Leung, Kenneth" userId="a31136a0-b1a6-47ba-8b40-d38c5cdd8f98" providerId="ADAL" clId="{BFCCFA5D-BB81-4901-A6B2-31D5673C8CF8}" dt="2023-07-10T07:15:41.940" v="24" actId="478"/>
          <ac:spMkLst>
            <pc:docMk/>
            <pc:sldMk cId="3253787467" sldId="259"/>
            <ac:spMk id="2" creationId="{12ED73C3-8DFD-87E1-7059-D65C08C253E4}"/>
          </ac:spMkLst>
        </pc:spChg>
        <pc:spChg chg="add mod">
          <ac:chgData name="Leung, Kenneth" userId="a31136a0-b1a6-47ba-8b40-d38c5cdd8f98" providerId="ADAL" clId="{BFCCFA5D-BB81-4901-A6B2-31D5673C8CF8}" dt="2023-07-10T08:36:14.612" v="2021" actId="1035"/>
          <ac:spMkLst>
            <pc:docMk/>
            <pc:sldMk cId="3253787467" sldId="259"/>
            <ac:spMk id="4" creationId="{2A544D1A-A28C-4BE9-28BB-3D20D3E0ED79}"/>
          </ac:spMkLst>
        </pc:spChg>
        <pc:spChg chg="add del mod">
          <ac:chgData name="Leung, Kenneth" userId="a31136a0-b1a6-47ba-8b40-d38c5cdd8f98" providerId="ADAL" clId="{BFCCFA5D-BB81-4901-A6B2-31D5673C8CF8}" dt="2023-07-10T07:31:35.454" v="163" actId="478"/>
          <ac:spMkLst>
            <pc:docMk/>
            <pc:sldMk cId="3253787467" sldId="259"/>
            <ac:spMk id="7" creationId="{09BD5AFD-C0A0-12A3-812E-72BC9C384970}"/>
          </ac:spMkLst>
        </pc:spChg>
        <pc:spChg chg="add del mod">
          <ac:chgData name="Leung, Kenneth" userId="a31136a0-b1a6-47ba-8b40-d38c5cdd8f98" providerId="ADAL" clId="{BFCCFA5D-BB81-4901-A6B2-31D5673C8CF8}" dt="2023-07-10T07:52:41.650" v="827" actId="478"/>
          <ac:spMkLst>
            <pc:docMk/>
            <pc:sldMk cId="3253787467" sldId="259"/>
            <ac:spMk id="8" creationId="{8EBBD4E9-1C48-D6A8-3F74-B3DBE442CC1F}"/>
          </ac:spMkLst>
        </pc:spChg>
        <pc:spChg chg="add del mod">
          <ac:chgData name="Leung, Kenneth" userId="a31136a0-b1a6-47ba-8b40-d38c5cdd8f98" providerId="ADAL" clId="{BFCCFA5D-BB81-4901-A6B2-31D5673C8CF8}" dt="2023-07-10T07:32:29.508" v="222" actId="478"/>
          <ac:spMkLst>
            <pc:docMk/>
            <pc:sldMk cId="3253787467" sldId="259"/>
            <ac:spMk id="9" creationId="{53894E5E-D8B7-C68D-0090-C9F1C89BA8B8}"/>
          </ac:spMkLst>
        </pc:spChg>
        <pc:spChg chg="add del mod">
          <ac:chgData name="Leung, Kenneth" userId="a31136a0-b1a6-47ba-8b40-d38c5cdd8f98" providerId="ADAL" clId="{BFCCFA5D-BB81-4901-A6B2-31D5673C8CF8}" dt="2023-07-10T07:32:41.566" v="229" actId="478"/>
          <ac:spMkLst>
            <pc:docMk/>
            <pc:sldMk cId="3253787467" sldId="259"/>
            <ac:spMk id="10" creationId="{D2CB5D4C-8C5D-DB59-F7C2-FAA4BB110211}"/>
          </ac:spMkLst>
        </pc:spChg>
        <pc:spChg chg="add del mod">
          <ac:chgData name="Leung, Kenneth" userId="a31136a0-b1a6-47ba-8b40-d38c5cdd8f98" providerId="ADAL" clId="{BFCCFA5D-BB81-4901-A6B2-31D5673C8CF8}" dt="2023-07-10T07:58:07.366" v="895" actId="478"/>
          <ac:spMkLst>
            <pc:docMk/>
            <pc:sldMk cId="3253787467" sldId="259"/>
            <ac:spMk id="11" creationId="{98990848-9459-27E3-1334-7528E47B840C}"/>
          </ac:spMkLst>
        </pc:spChg>
        <pc:spChg chg="add del mod">
          <ac:chgData name="Leung, Kenneth" userId="a31136a0-b1a6-47ba-8b40-d38c5cdd8f98" providerId="ADAL" clId="{BFCCFA5D-BB81-4901-A6B2-31D5673C8CF8}" dt="2023-07-10T07:50:58.817" v="657" actId="478"/>
          <ac:spMkLst>
            <pc:docMk/>
            <pc:sldMk cId="3253787467" sldId="259"/>
            <ac:spMk id="12" creationId="{59102932-C8B4-CA97-E858-5F54F2867DD8}"/>
          </ac:spMkLst>
        </pc:spChg>
        <pc:spChg chg="add mod">
          <ac:chgData name="Leung, Kenneth" userId="a31136a0-b1a6-47ba-8b40-d38c5cdd8f98" providerId="ADAL" clId="{BFCCFA5D-BB81-4901-A6B2-31D5673C8CF8}" dt="2023-07-10T08:36:14.612" v="2021" actId="1035"/>
          <ac:spMkLst>
            <pc:docMk/>
            <pc:sldMk cId="3253787467" sldId="259"/>
            <ac:spMk id="13" creationId="{D34BDAB4-C112-7DA3-1BAA-BA2B8BB56259}"/>
          </ac:spMkLst>
        </pc:spChg>
        <pc:spChg chg="add mod">
          <ac:chgData name="Leung, Kenneth" userId="a31136a0-b1a6-47ba-8b40-d38c5cdd8f98" providerId="ADAL" clId="{BFCCFA5D-BB81-4901-A6B2-31D5673C8CF8}" dt="2023-07-10T08:36:14.612" v="2021" actId="1035"/>
          <ac:spMkLst>
            <pc:docMk/>
            <pc:sldMk cId="3253787467" sldId="259"/>
            <ac:spMk id="14" creationId="{BA264786-0686-E4F1-BE8C-B7200A87D978}"/>
          </ac:spMkLst>
        </pc:spChg>
        <pc:spChg chg="add mod">
          <ac:chgData name="Leung, Kenneth" userId="a31136a0-b1a6-47ba-8b40-d38c5cdd8f98" providerId="ADAL" clId="{BFCCFA5D-BB81-4901-A6B2-31D5673C8CF8}" dt="2023-07-10T08:36:14.612" v="2021" actId="1035"/>
          <ac:spMkLst>
            <pc:docMk/>
            <pc:sldMk cId="3253787467" sldId="259"/>
            <ac:spMk id="15" creationId="{AD427996-39EE-FFE4-F13E-B01A18ECC114}"/>
          </ac:spMkLst>
        </pc:spChg>
        <pc:spChg chg="add mod">
          <ac:chgData name="Leung, Kenneth" userId="a31136a0-b1a6-47ba-8b40-d38c5cdd8f98" providerId="ADAL" clId="{BFCCFA5D-BB81-4901-A6B2-31D5673C8CF8}" dt="2023-07-10T08:36:14.612" v="2021" actId="1035"/>
          <ac:spMkLst>
            <pc:docMk/>
            <pc:sldMk cId="3253787467" sldId="259"/>
            <ac:spMk id="16" creationId="{250830B8-D650-9792-5258-B3DEFAF5561F}"/>
          </ac:spMkLst>
        </pc:spChg>
        <pc:spChg chg="add mod">
          <ac:chgData name="Leung, Kenneth" userId="a31136a0-b1a6-47ba-8b40-d38c5cdd8f98" providerId="ADAL" clId="{BFCCFA5D-BB81-4901-A6B2-31D5673C8CF8}" dt="2023-07-10T08:36:14.612" v="2021" actId="1035"/>
          <ac:spMkLst>
            <pc:docMk/>
            <pc:sldMk cId="3253787467" sldId="259"/>
            <ac:spMk id="17" creationId="{5B2243FB-26E6-C9E8-7180-87CBFF6AC191}"/>
          </ac:spMkLst>
        </pc:spChg>
        <pc:spChg chg="add mod">
          <ac:chgData name="Leung, Kenneth" userId="a31136a0-b1a6-47ba-8b40-d38c5cdd8f98" providerId="ADAL" clId="{BFCCFA5D-BB81-4901-A6B2-31D5673C8CF8}" dt="2023-07-10T08:36:14.612" v="2021" actId="1035"/>
          <ac:spMkLst>
            <pc:docMk/>
            <pc:sldMk cId="3253787467" sldId="259"/>
            <ac:spMk id="18" creationId="{B0D72563-FF8C-29D3-F887-E2258CEF2A97}"/>
          </ac:spMkLst>
        </pc:spChg>
        <pc:spChg chg="add mod">
          <ac:chgData name="Leung, Kenneth" userId="a31136a0-b1a6-47ba-8b40-d38c5cdd8f98" providerId="ADAL" clId="{BFCCFA5D-BB81-4901-A6B2-31D5673C8CF8}" dt="2023-07-10T08:36:14.612" v="2021" actId="1035"/>
          <ac:spMkLst>
            <pc:docMk/>
            <pc:sldMk cId="3253787467" sldId="259"/>
            <ac:spMk id="19" creationId="{76FCA87A-8426-BA2B-1900-61D56143FCCF}"/>
          </ac:spMkLst>
        </pc:spChg>
        <pc:spChg chg="add del mod">
          <ac:chgData name="Leung, Kenneth" userId="a31136a0-b1a6-47ba-8b40-d38c5cdd8f98" providerId="ADAL" clId="{BFCCFA5D-BB81-4901-A6B2-31D5673C8CF8}" dt="2023-07-10T07:35:17.895" v="318" actId="478"/>
          <ac:spMkLst>
            <pc:docMk/>
            <pc:sldMk cId="3253787467" sldId="259"/>
            <ac:spMk id="20" creationId="{41966DAF-EB31-750E-A4E9-B51816C98F7C}"/>
          </ac:spMkLst>
        </pc:spChg>
        <pc:spChg chg="add del mod">
          <ac:chgData name="Leung, Kenneth" userId="a31136a0-b1a6-47ba-8b40-d38c5cdd8f98" providerId="ADAL" clId="{BFCCFA5D-BB81-4901-A6B2-31D5673C8CF8}" dt="2023-07-10T07:59:48.703" v="981" actId="478"/>
          <ac:spMkLst>
            <pc:docMk/>
            <pc:sldMk cId="3253787467" sldId="259"/>
            <ac:spMk id="22" creationId="{C45FEE0A-091C-D848-80E6-B42F69135DA0}"/>
          </ac:spMkLst>
        </pc:spChg>
        <pc:spChg chg="add mod">
          <ac:chgData name="Leung, Kenneth" userId="a31136a0-b1a6-47ba-8b40-d38c5cdd8f98" providerId="ADAL" clId="{BFCCFA5D-BB81-4901-A6B2-31D5673C8CF8}" dt="2023-07-10T08:36:14.612" v="2021" actId="1035"/>
          <ac:spMkLst>
            <pc:docMk/>
            <pc:sldMk cId="3253787467" sldId="259"/>
            <ac:spMk id="25" creationId="{E1B0CA29-DB62-9D18-9ECD-B5AAC297C73B}"/>
          </ac:spMkLst>
        </pc:spChg>
        <pc:spChg chg="add mod">
          <ac:chgData name="Leung, Kenneth" userId="a31136a0-b1a6-47ba-8b40-d38c5cdd8f98" providerId="ADAL" clId="{BFCCFA5D-BB81-4901-A6B2-31D5673C8CF8}" dt="2023-07-10T08:36:14.612" v="2021" actId="1035"/>
          <ac:spMkLst>
            <pc:docMk/>
            <pc:sldMk cId="3253787467" sldId="259"/>
            <ac:spMk id="26" creationId="{DEF2E6C9-0B35-AFD6-35F0-DF1CA749156E}"/>
          </ac:spMkLst>
        </pc:spChg>
        <pc:spChg chg="add mod">
          <ac:chgData name="Leung, Kenneth" userId="a31136a0-b1a6-47ba-8b40-d38c5cdd8f98" providerId="ADAL" clId="{BFCCFA5D-BB81-4901-A6B2-31D5673C8CF8}" dt="2023-07-10T08:36:14.612" v="2021" actId="1035"/>
          <ac:spMkLst>
            <pc:docMk/>
            <pc:sldMk cId="3253787467" sldId="259"/>
            <ac:spMk id="27" creationId="{5D8E99DF-AA10-C0A7-C501-47B2B94B69CA}"/>
          </ac:spMkLst>
        </pc:spChg>
        <pc:spChg chg="add mod">
          <ac:chgData name="Leung, Kenneth" userId="a31136a0-b1a6-47ba-8b40-d38c5cdd8f98" providerId="ADAL" clId="{BFCCFA5D-BB81-4901-A6B2-31D5673C8CF8}" dt="2023-07-10T08:36:14.612" v="2021" actId="1035"/>
          <ac:spMkLst>
            <pc:docMk/>
            <pc:sldMk cId="3253787467" sldId="259"/>
            <ac:spMk id="28" creationId="{028E60EA-9D53-C4C0-F49F-0B3EF4CE6E4E}"/>
          </ac:spMkLst>
        </pc:spChg>
        <pc:spChg chg="add mod">
          <ac:chgData name="Leung, Kenneth" userId="a31136a0-b1a6-47ba-8b40-d38c5cdd8f98" providerId="ADAL" clId="{BFCCFA5D-BB81-4901-A6B2-31D5673C8CF8}" dt="2023-07-10T08:36:14.612" v="2021" actId="1035"/>
          <ac:spMkLst>
            <pc:docMk/>
            <pc:sldMk cId="3253787467" sldId="259"/>
            <ac:spMk id="29" creationId="{7D2AE185-09AD-44ED-BABF-44939D8123C1}"/>
          </ac:spMkLst>
        </pc:spChg>
        <pc:spChg chg="add mod">
          <ac:chgData name="Leung, Kenneth" userId="a31136a0-b1a6-47ba-8b40-d38c5cdd8f98" providerId="ADAL" clId="{BFCCFA5D-BB81-4901-A6B2-31D5673C8CF8}" dt="2023-07-10T08:36:14.612" v="2021" actId="1035"/>
          <ac:spMkLst>
            <pc:docMk/>
            <pc:sldMk cId="3253787467" sldId="259"/>
            <ac:spMk id="30" creationId="{163582D8-D8DB-60B5-8585-BE4009FE1AF3}"/>
          </ac:spMkLst>
        </pc:spChg>
        <pc:spChg chg="add mod">
          <ac:chgData name="Leung, Kenneth" userId="a31136a0-b1a6-47ba-8b40-d38c5cdd8f98" providerId="ADAL" clId="{BFCCFA5D-BB81-4901-A6B2-31D5673C8CF8}" dt="2023-07-10T08:36:14.612" v="2021" actId="1035"/>
          <ac:spMkLst>
            <pc:docMk/>
            <pc:sldMk cId="3253787467" sldId="259"/>
            <ac:spMk id="31" creationId="{EF54364A-6E28-2712-4743-D5724A37C70F}"/>
          </ac:spMkLst>
        </pc:spChg>
        <pc:spChg chg="add mod">
          <ac:chgData name="Leung, Kenneth" userId="a31136a0-b1a6-47ba-8b40-d38c5cdd8f98" providerId="ADAL" clId="{BFCCFA5D-BB81-4901-A6B2-31D5673C8CF8}" dt="2023-07-10T08:36:14.612" v="2021" actId="1035"/>
          <ac:spMkLst>
            <pc:docMk/>
            <pc:sldMk cId="3253787467" sldId="259"/>
            <ac:spMk id="35" creationId="{1F4A3DD1-CC21-38C5-C526-8C4E6B357217}"/>
          </ac:spMkLst>
        </pc:spChg>
        <pc:spChg chg="add del mod">
          <ac:chgData name="Leung, Kenneth" userId="a31136a0-b1a6-47ba-8b40-d38c5cdd8f98" providerId="ADAL" clId="{BFCCFA5D-BB81-4901-A6B2-31D5673C8CF8}" dt="2023-07-10T07:46:18.107" v="569" actId="478"/>
          <ac:spMkLst>
            <pc:docMk/>
            <pc:sldMk cId="3253787467" sldId="259"/>
            <ac:spMk id="38" creationId="{8439B93B-C648-C349-A3A7-C16FAB767C4C}"/>
          </ac:spMkLst>
        </pc:spChg>
        <pc:spChg chg="add del mod">
          <ac:chgData name="Leung, Kenneth" userId="a31136a0-b1a6-47ba-8b40-d38c5cdd8f98" providerId="ADAL" clId="{BFCCFA5D-BB81-4901-A6B2-31D5673C8CF8}" dt="2023-07-10T07:59:47.973" v="980" actId="478"/>
          <ac:spMkLst>
            <pc:docMk/>
            <pc:sldMk cId="3253787467" sldId="259"/>
            <ac:spMk id="39" creationId="{BB0DE78F-2ABD-2518-20C2-78E0F45CC655}"/>
          </ac:spMkLst>
        </pc:spChg>
        <pc:spChg chg="mod topLvl">
          <ac:chgData name="Leung, Kenneth" userId="a31136a0-b1a6-47ba-8b40-d38c5cdd8f98" providerId="ADAL" clId="{BFCCFA5D-BB81-4901-A6B2-31D5673C8CF8}" dt="2023-07-10T08:36:14.612" v="2021" actId="1035"/>
          <ac:spMkLst>
            <pc:docMk/>
            <pc:sldMk cId="3253787467" sldId="259"/>
            <ac:spMk id="41" creationId="{53E689E6-3DCF-C546-B3DD-881483ECF5F3}"/>
          </ac:spMkLst>
        </pc:spChg>
        <pc:spChg chg="del mod topLvl">
          <ac:chgData name="Leung, Kenneth" userId="a31136a0-b1a6-47ba-8b40-d38c5cdd8f98" providerId="ADAL" clId="{BFCCFA5D-BB81-4901-A6B2-31D5673C8CF8}" dt="2023-07-10T07:48:19.010" v="612" actId="478"/>
          <ac:spMkLst>
            <pc:docMk/>
            <pc:sldMk cId="3253787467" sldId="259"/>
            <ac:spMk id="42" creationId="{B725C483-173A-4C28-4F97-E2AED6F571D9}"/>
          </ac:spMkLst>
        </pc:spChg>
        <pc:spChg chg="del mod">
          <ac:chgData name="Leung, Kenneth" userId="a31136a0-b1a6-47ba-8b40-d38c5cdd8f98" providerId="ADAL" clId="{BFCCFA5D-BB81-4901-A6B2-31D5673C8CF8}" dt="2023-07-10T07:48:17.732" v="611" actId="478"/>
          <ac:spMkLst>
            <pc:docMk/>
            <pc:sldMk cId="3253787467" sldId="259"/>
            <ac:spMk id="43" creationId="{1BFC2F67-3DC8-7EB2-F69C-6A5C844501DF}"/>
          </ac:spMkLst>
        </pc:spChg>
        <pc:spChg chg="del mod">
          <ac:chgData name="Leung, Kenneth" userId="a31136a0-b1a6-47ba-8b40-d38c5cdd8f98" providerId="ADAL" clId="{BFCCFA5D-BB81-4901-A6B2-31D5673C8CF8}" dt="2023-07-10T07:48:17.732" v="611" actId="478"/>
          <ac:spMkLst>
            <pc:docMk/>
            <pc:sldMk cId="3253787467" sldId="259"/>
            <ac:spMk id="44" creationId="{51D65A5C-2BED-80E1-D0F1-9F86519EFDF6}"/>
          </ac:spMkLst>
        </pc:spChg>
        <pc:spChg chg="del mod">
          <ac:chgData name="Leung, Kenneth" userId="a31136a0-b1a6-47ba-8b40-d38c5cdd8f98" providerId="ADAL" clId="{BFCCFA5D-BB81-4901-A6B2-31D5673C8CF8}" dt="2023-07-10T07:48:17.732" v="611" actId="478"/>
          <ac:spMkLst>
            <pc:docMk/>
            <pc:sldMk cId="3253787467" sldId="259"/>
            <ac:spMk id="45" creationId="{ED639ACF-2D83-55F5-D0A9-6EB9D1948A23}"/>
          </ac:spMkLst>
        </pc:spChg>
        <pc:spChg chg="del mod">
          <ac:chgData name="Leung, Kenneth" userId="a31136a0-b1a6-47ba-8b40-d38c5cdd8f98" providerId="ADAL" clId="{BFCCFA5D-BB81-4901-A6B2-31D5673C8CF8}" dt="2023-07-10T07:48:17.732" v="611" actId="478"/>
          <ac:spMkLst>
            <pc:docMk/>
            <pc:sldMk cId="3253787467" sldId="259"/>
            <ac:spMk id="46" creationId="{4FEFCD8C-FA56-D0BF-C549-CB34D600A06A}"/>
          </ac:spMkLst>
        </pc:spChg>
        <pc:spChg chg="add mod">
          <ac:chgData name="Leung, Kenneth" userId="a31136a0-b1a6-47ba-8b40-d38c5cdd8f98" providerId="ADAL" clId="{BFCCFA5D-BB81-4901-A6B2-31D5673C8CF8}" dt="2023-07-10T08:36:14.612" v="2021" actId="1035"/>
          <ac:spMkLst>
            <pc:docMk/>
            <pc:sldMk cId="3253787467" sldId="259"/>
            <ac:spMk id="51" creationId="{FCC032C5-19D8-B438-FD6D-3D9377185236}"/>
          </ac:spMkLst>
        </pc:spChg>
        <pc:spChg chg="add mod">
          <ac:chgData name="Leung, Kenneth" userId="a31136a0-b1a6-47ba-8b40-d38c5cdd8f98" providerId="ADAL" clId="{BFCCFA5D-BB81-4901-A6B2-31D5673C8CF8}" dt="2023-07-10T08:36:14.612" v="2021" actId="1035"/>
          <ac:spMkLst>
            <pc:docMk/>
            <pc:sldMk cId="3253787467" sldId="259"/>
            <ac:spMk id="53" creationId="{FE986BA3-5FAA-DB53-36E1-1673B93E17A4}"/>
          </ac:spMkLst>
        </pc:spChg>
        <pc:spChg chg="mod">
          <ac:chgData name="Leung, Kenneth" userId="a31136a0-b1a6-47ba-8b40-d38c5cdd8f98" providerId="ADAL" clId="{BFCCFA5D-BB81-4901-A6B2-31D5673C8CF8}" dt="2023-07-10T08:36:14.612" v="2021" actId="1035"/>
          <ac:spMkLst>
            <pc:docMk/>
            <pc:sldMk cId="3253787467" sldId="259"/>
            <ac:spMk id="55" creationId="{EB2CE848-C17F-812F-332C-27A3B4B8EA5D}"/>
          </ac:spMkLst>
        </pc:spChg>
        <pc:spChg chg="mod">
          <ac:chgData name="Leung, Kenneth" userId="a31136a0-b1a6-47ba-8b40-d38c5cdd8f98" providerId="ADAL" clId="{BFCCFA5D-BB81-4901-A6B2-31D5673C8CF8}" dt="2023-07-10T08:36:14.612" v="2021" actId="1035"/>
          <ac:spMkLst>
            <pc:docMk/>
            <pc:sldMk cId="3253787467" sldId="259"/>
            <ac:spMk id="57" creationId="{9EAFF4B7-6A5B-4336-0B1A-977844A0B9F5}"/>
          </ac:spMkLst>
        </pc:spChg>
        <pc:spChg chg="add del">
          <ac:chgData name="Leung, Kenneth" userId="a31136a0-b1a6-47ba-8b40-d38c5cdd8f98" providerId="ADAL" clId="{BFCCFA5D-BB81-4901-A6B2-31D5673C8CF8}" dt="2023-07-10T07:56:05.776" v="885"/>
          <ac:spMkLst>
            <pc:docMk/>
            <pc:sldMk cId="3253787467" sldId="259"/>
            <ac:spMk id="58" creationId="{1D8794BE-CD49-EB2E-1A98-48A0D0C80ED9}"/>
          </ac:spMkLst>
        </pc:spChg>
        <pc:spChg chg="add mod">
          <ac:chgData name="Leung, Kenneth" userId="a31136a0-b1a6-47ba-8b40-d38c5cdd8f98" providerId="ADAL" clId="{BFCCFA5D-BB81-4901-A6B2-31D5673C8CF8}" dt="2023-07-10T08:36:14.612" v="2021" actId="1035"/>
          <ac:spMkLst>
            <pc:docMk/>
            <pc:sldMk cId="3253787467" sldId="259"/>
            <ac:spMk id="1031" creationId="{68022072-BB6D-016E-BF5A-DF05DFA23792}"/>
          </ac:spMkLst>
        </pc:spChg>
        <pc:spChg chg="add mod">
          <ac:chgData name="Leung, Kenneth" userId="a31136a0-b1a6-47ba-8b40-d38c5cdd8f98" providerId="ADAL" clId="{BFCCFA5D-BB81-4901-A6B2-31D5673C8CF8}" dt="2023-07-10T08:36:14.612" v="2021" actId="1035"/>
          <ac:spMkLst>
            <pc:docMk/>
            <pc:sldMk cId="3253787467" sldId="259"/>
            <ac:spMk id="1032" creationId="{E441AF77-1CE6-3C0D-8F3E-DAE5AA85D1E3}"/>
          </ac:spMkLst>
        </pc:spChg>
        <pc:spChg chg="add mod">
          <ac:chgData name="Leung, Kenneth" userId="a31136a0-b1a6-47ba-8b40-d38c5cdd8f98" providerId="ADAL" clId="{BFCCFA5D-BB81-4901-A6B2-31D5673C8CF8}" dt="2023-07-10T08:36:14.612" v="2021" actId="1035"/>
          <ac:spMkLst>
            <pc:docMk/>
            <pc:sldMk cId="3253787467" sldId="259"/>
            <ac:spMk id="1033" creationId="{E50C26E9-C336-DCF5-8BAA-ABA785022B66}"/>
          </ac:spMkLst>
        </pc:spChg>
        <pc:spChg chg="add del mod">
          <ac:chgData name="Leung, Kenneth" userId="a31136a0-b1a6-47ba-8b40-d38c5cdd8f98" providerId="ADAL" clId="{BFCCFA5D-BB81-4901-A6B2-31D5673C8CF8}" dt="2023-07-10T08:36:14.612" v="2021" actId="1035"/>
          <ac:spMkLst>
            <pc:docMk/>
            <pc:sldMk cId="3253787467" sldId="259"/>
            <ac:spMk id="1041" creationId="{4A8DCFAD-27CD-E9DE-D32A-780C55F15292}"/>
          </ac:spMkLst>
        </pc:spChg>
        <pc:spChg chg="add mod">
          <ac:chgData name="Leung, Kenneth" userId="a31136a0-b1a6-47ba-8b40-d38c5cdd8f98" providerId="ADAL" clId="{BFCCFA5D-BB81-4901-A6B2-31D5673C8CF8}" dt="2023-07-10T08:36:14.612" v="2021" actId="1035"/>
          <ac:spMkLst>
            <pc:docMk/>
            <pc:sldMk cId="3253787467" sldId="259"/>
            <ac:spMk id="1080" creationId="{4CD32B8C-8B61-FB5A-A743-BEC0A530EC00}"/>
          </ac:spMkLst>
        </pc:spChg>
        <pc:spChg chg="add mod">
          <ac:chgData name="Leung, Kenneth" userId="a31136a0-b1a6-47ba-8b40-d38c5cdd8f98" providerId="ADAL" clId="{BFCCFA5D-BB81-4901-A6B2-31D5673C8CF8}" dt="2023-07-10T08:36:14.612" v="2021" actId="1035"/>
          <ac:spMkLst>
            <pc:docMk/>
            <pc:sldMk cId="3253787467" sldId="259"/>
            <ac:spMk id="1084" creationId="{A18038D0-F667-863B-6A7E-EDBF6F2BC207}"/>
          </ac:spMkLst>
        </pc:spChg>
        <pc:spChg chg="add mod">
          <ac:chgData name="Leung, Kenneth" userId="a31136a0-b1a6-47ba-8b40-d38c5cdd8f98" providerId="ADAL" clId="{BFCCFA5D-BB81-4901-A6B2-31D5673C8CF8}" dt="2023-07-10T08:36:14.612" v="2021" actId="1035"/>
          <ac:spMkLst>
            <pc:docMk/>
            <pc:sldMk cId="3253787467" sldId="259"/>
            <ac:spMk id="1092" creationId="{6EE7149A-B12A-972D-529B-D0F14D195DDA}"/>
          </ac:spMkLst>
        </pc:spChg>
        <pc:spChg chg="add mod">
          <ac:chgData name="Leung, Kenneth" userId="a31136a0-b1a6-47ba-8b40-d38c5cdd8f98" providerId="ADAL" clId="{BFCCFA5D-BB81-4901-A6B2-31D5673C8CF8}" dt="2023-07-10T08:36:14.612" v="2021" actId="1035"/>
          <ac:spMkLst>
            <pc:docMk/>
            <pc:sldMk cId="3253787467" sldId="259"/>
            <ac:spMk id="1093" creationId="{91C4417C-59FF-1791-D772-AFACEC1F3C91}"/>
          </ac:spMkLst>
        </pc:spChg>
        <pc:spChg chg="add mod">
          <ac:chgData name="Leung, Kenneth" userId="a31136a0-b1a6-47ba-8b40-d38c5cdd8f98" providerId="ADAL" clId="{BFCCFA5D-BB81-4901-A6B2-31D5673C8CF8}" dt="2023-07-10T08:36:14.612" v="2021" actId="1035"/>
          <ac:spMkLst>
            <pc:docMk/>
            <pc:sldMk cId="3253787467" sldId="259"/>
            <ac:spMk id="1103" creationId="{6C92AF2F-3869-67CD-9AC4-B0777FA963D9}"/>
          </ac:spMkLst>
        </pc:spChg>
        <pc:spChg chg="add mod">
          <ac:chgData name="Leung, Kenneth" userId="a31136a0-b1a6-47ba-8b40-d38c5cdd8f98" providerId="ADAL" clId="{BFCCFA5D-BB81-4901-A6B2-31D5673C8CF8}" dt="2023-07-10T08:36:14.612" v="2021" actId="1035"/>
          <ac:spMkLst>
            <pc:docMk/>
            <pc:sldMk cId="3253787467" sldId="259"/>
            <ac:spMk id="1106" creationId="{5AA4EE17-388B-5D92-DBC6-F546A56EE8FC}"/>
          </ac:spMkLst>
        </pc:spChg>
        <pc:spChg chg="add del mod">
          <ac:chgData name="Leung, Kenneth" userId="a31136a0-b1a6-47ba-8b40-d38c5cdd8f98" providerId="ADAL" clId="{BFCCFA5D-BB81-4901-A6B2-31D5673C8CF8}" dt="2023-07-10T08:32:11.890" v="1880" actId="478"/>
          <ac:spMkLst>
            <pc:docMk/>
            <pc:sldMk cId="3253787467" sldId="259"/>
            <ac:spMk id="1107" creationId="{58D9116A-D443-14D3-4426-F7B113A0C090}"/>
          </ac:spMkLst>
        </pc:spChg>
        <pc:spChg chg="add del mod">
          <ac:chgData name="Leung, Kenneth" userId="a31136a0-b1a6-47ba-8b40-d38c5cdd8f98" providerId="ADAL" clId="{BFCCFA5D-BB81-4901-A6B2-31D5673C8CF8}" dt="2023-07-10T08:33:42.316" v="1938" actId="478"/>
          <ac:spMkLst>
            <pc:docMk/>
            <pc:sldMk cId="3253787467" sldId="259"/>
            <ac:spMk id="1108" creationId="{69BAFE2C-D46C-A923-C4F5-ACFA4695E69A}"/>
          </ac:spMkLst>
        </pc:spChg>
        <pc:spChg chg="mod">
          <ac:chgData name="Leung, Kenneth" userId="a31136a0-b1a6-47ba-8b40-d38c5cdd8f98" providerId="ADAL" clId="{BFCCFA5D-BB81-4901-A6B2-31D5673C8CF8}" dt="2023-07-10T08:36:14.612" v="2021" actId="1035"/>
          <ac:spMkLst>
            <pc:docMk/>
            <pc:sldMk cId="3253787467" sldId="259"/>
            <ac:spMk id="1111" creationId="{25FE366F-CE8B-0EE1-C300-093FF780ABDA}"/>
          </ac:spMkLst>
        </pc:spChg>
        <pc:spChg chg="mod">
          <ac:chgData name="Leung, Kenneth" userId="a31136a0-b1a6-47ba-8b40-d38c5cdd8f98" providerId="ADAL" clId="{BFCCFA5D-BB81-4901-A6B2-31D5673C8CF8}" dt="2023-07-10T08:36:14.612" v="2021" actId="1035"/>
          <ac:spMkLst>
            <pc:docMk/>
            <pc:sldMk cId="3253787467" sldId="259"/>
            <ac:spMk id="1112" creationId="{7BCC32BF-902B-9A5E-1902-ED3289738821}"/>
          </ac:spMkLst>
        </pc:spChg>
        <pc:spChg chg="mod">
          <ac:chgData name="Leung, Kenneth" userId="a31136a0-b1a6-47ba-8b40-d38c5cdd8f98" providerId="ADAL" clId="{BFCCFA5D-BB81-4901-A6B2-31D5673C8CF8}" dt="2023-07-10T08:36:14.612" v="2021" actId="1035"/>
          <ac:spMkLst>
            <pc:docMk/>
            <pc:sldMk cId="3253787467" sldId="259"/>
            <ac:spMk id="1113" creationId="{B75649FF-BA25-F8CE-08D2-693E682C5A7B}"/>
          </ac:spMkLst>
        </pc:spChg>
        <pc:spChg chg="mod">
          <ac:chgData name="Leung, Kenneth" userId="a31136a0-b1a6-47ba-8b40-d38c5cdd8f98" providerId="ADAL" clId="{BFCCFA5D-BB81-4901-A6B2-31D5673C8CF8}" dt="2023-07-10T08:36:14.612" v="2021" actId="1035"/>
          <ac:spMkLst>
            <pc:docMk/>
            <pc:sldMk cId="3253787467" sldId="259"/>
            <ac:spMk id="1114" creationId="{5D360DD5-249D-26A7-3421-104E5B5B9834}"/>
          </ac:spMkLst>
        </pc:spChg>
        <pc:spChg chg="mod">
          <ac:chgData name="Leung, Kenneth" userId="a31136a0-b1a6-47ba-8b40-d38c5cdd8f98" providerId="ADAL" clId="{BFCCFA5D-BB81-4901-A6B2-31D5673C8CF8}" dt="2023-07-10T08:36:14.612" v="2021" actId="1035"/>
          <ac:spMkLst>
            <pc:docMk/>
            <pc:sldMk cId="3253787467" sldId="259"/>
            <ac:spMk id="1115" creationId="{FF84796E-8E5B-BF1D-AD79-5216A3C8FBC9}"/>
          </ac:spMkLst>
        </pc:spChg>
        <pc:spChg chg="mod">
          <ac:chgData name="Leung, Kenneth" userId="a31136a0-b1a6-47ba-8b40-d38c5cdd8f98" providerId="ADAL" clId="{BFCCFA5D-BB81-4901-A6B2-31D5673C8CF8}" dt="2023-07-10T08:36:14.612" v="2021" actId="1035"/>
          <ac:spMkLst>
            <pc:docMk/>
            <pc:sldMk cId="3253787467" sldId="259"/>
            <ac:spMk id="1116" creationId="{B962BF15-0174-445A-6AA4-8CA4CA73C6DE}"/>
          </ac:spMkLst>
        </pc:spChg>
        <pc:grpChg chg="add mod">
          <ac:chgData name="Leung, Kenneth" userId="a31136a0-b1a6-47ba-8b40-d38c5cdd8f98" providerId="ADAL" clId="{BFCCFA5D-BB81-4901-A6B2-31D5673C8CF8}" dt="2023-07-10T08:36:14.612" v="2021" actId="1035"/>
          <ac:grpSpMkLst>
            <pc:docMk/>
            <pc:sldMk cId="3253787467" sldId="259"/>
            <ac:grpSpMk id="21" creationId="{5387CD83-7A64-F42F-00D9-51D9FBD5F0D3}"/>
          </ac:grpSpMkLst>
        </pc:grpChg>
        <pc:grpChg chg="add mod">
          <ac:chgData name="Leung, Kenneth" userId="a31136a0-b1a6-47ba-8b40-d38c5cdd8f98" providerId="ADAL" clId="{BFCCFA5D-BB81-4901-A6B2-31D5673C8CF8}" dt="2023-07-10T08:36:14.612" v="2021" actId="1035"/>
          <ac:grpSpMkLst>
            <pc:docMk/>
            <pc:sldMk cId="3253787467" sldId="259"/>
            <ac:grpSpMk id="36" creationId="{A15F54CA-5A65-8F40-E806-9EED06CF00F8}"/>
          </ac:grpSpMkLst>
        </pc:grpChg>
        <pc:grpChg chg="add mod">
          <ac:chgData name="Leung, Kenneth" userId="a31136a0-b1a6-47ba-8b40-d38c5cdd8f98" providerId="ADAL" clId="{BFCCFA5D-BB81-4901-A6B2-31D5673C8CF8}" dt="2023-07-10T08:36:14.612" v="2021" actId="1035"/>
          <ac:grpSpMkLst>
            <pc:docMk/>
            <pc:sldMk cId="3253787467" sldId="259"/>
            <ac:grpSpMk id="37" creationId="{DA870ECF-6910-D6AC-DAA3-17239AA53E96}"/>
          </ac:grpSpMkLst>
        </pc:grpChg>
        <pc:grpChg chg="add del mod">
          <ac:chgData name="Leung, Kenneth" userId="a31136a0-b1a6-47ba-8b40-d38c5cdd8f98" providerId="ADAL" clId="{BFCCFA5D-BB81-4901-A6B2-31D5673C8CF8}" dt="2023-07-10T07:48:19.010" v="612" actId="478"/>
          <ac:grpSpMkLst>
            <pc:docMk/>
            <pc:sldMk cId="3253787467" sldId="259"/>
            <ac:grpSpMk id="40" creationId="{E804D008-DE7C-C75A-166B-4C4396515352}"/>
          </ac:grpSpMkLst>
        </pc:grpChg>
        <pc:grpChg chg="add mod">
          <ac:chgData name="Leung, Kenneth" userId="a31136a0-b1a6-47ba-8b40-d38c5cdd8f98" providerId="ADAL" clId="{BFCCFA5D-BB81-4901-A6B2-31D5673C8CF8}" dt="2023-07-10T08:36:14.612" v="2021" actId="1035"/>
          <ac:grpSpMkLst>
            <pc:docMk/>
            <pc:sldMk cId="3253787467" sldId="259"/>
            <ac:grpSpMk id="52" creationId="{8549C065-A3DD-CEB3-284A-7CDA6C55F753}"/>
          </ac:grpSpMkLst>
        </pc:grpChg>
        <pc:grpChg chg="add mod">
          <ac:chgData name="Leung, Kenneth" userId="a31136a0-b1a6-47ba-8b40-d38c5cdd8f98" providerId="ADAL" clId="{BFCCFA5D-BB81-4901-A6B2-31D5673C8CF8}" dt="2023-07-10T08:36:14.612" v="2021" actId="1035"/>
          <ac:grpSpMkLst>
            <pc:docMk/>
            <pc:sldMk cId="3253787467" sldId="259"/>
            <ac:grpSpMk id="54" creationId="{D888E931-3E38-3C29-B1ED-33B4497394EC}"/>
          </ac:grpSpMkLst>
        </pc:grpChg>
        <pc:grpChg chg="add mod">
          <ac:chgData name="Leung, Kenneth" userId="a31136a0-b1a6-47ba-8b40-d38c5cdd8f98" providerId="ADAL" clId="{BFCCFA5D-BB81-4901-A6B2-31D5673C8CF8}" dt="2023-07-10T08:36:14.612" v="2021" actId="1035"/>
          <ac:grpSpMkLst>
            <pc:docMk/>
            <pc:sldMk cId="3253787467" sldId="259"/>
            <ac:grpSpMk id="1040" creationId="{ADAA4554-8BFD-1AF8-8CA7-BF678EF17EDE}"/>
          </ac:grpSpMkLst>
        </pc:grpChg>
        <pc:grpChg chg="add mod">
          <ac:chgData name="Leung, Kenneth" userId="a31136a0-b1a6-47ba-8b40-d38c5cdd8f98" providerId="ADAL" clId="{BFCCFA5D-BB81-4901-A6B2-31D5673C8CF8}" dt="2023-07-10T08:36:14.612" v="2021" actId="1035"/>
          <ac:grpSpMkLst>
            <pc:docMk/>
            <pc:sldMk cId="3253787467" sldId="259"/>
            <ac:grpSpMk id="1100" creationId="{BFD75633-4025-D8B6-3C4F-D15D5098F2ED}"/>
          </ac:grpSpMkLst>
        </pc:grpChg>
        <pc:grpChg chg="add mod">
          <ac:chgData name="Leung, Kenneth" userId="a31136a0-b1a6-47ba-8b40-d38c5cdd8f98" providerId="ADAL" clId="{BFCCFA5D-BB81-4901-A6B2-31D5673C8CF8}" dt="2023-07-10T08:36:14.612" v="2021" actId="1035"/>
          <ac:grpSpMkLst>
            <pc:docMk/>
            <pc:sldMk cId="3253787467" sldId="259"/>
            <ac:grpSpMk id="1110" creationId="{072B07BF-175A-2ED9-29EC-5B74118635F5}"/>
          </ac:grpSpMkLst>
        </pc:grpChg>
        <pc:graphicFrameChg chg="add mod ord modVis replST">
          <ac:chgData name="Leung, Kenneth" userId="a31136a0-b1a6-47ba-8b40-d38c5cdd8f98" providerId="ADAL" clId="{BFCCFA5D-BB81-4901-A6B2-31D5673C8CF8}" dt="2023-07-10T07:15:42.441" v="28"/>
          <ac:graphicFrameMkLst>
            <pc:docMk/>
            <pc:sldMk cId="3253787467" sldId="259"/>
            <ac:graphicFrameMk id="3" creationId="{2D9639BC-D181-8BD1-3FEE-B0655F31FB33}"/>
          </ac:graphicFrameMkLst>
        </pc:graphicFrameChg>
        <pc:picChg chg="add del mod">
          <ac:chgData name="Leung, Kenneth" userId="a31136a0-b1a6-47ba-8b40-d38c5cdd8f98" providerId="ADAL" clId="{BFCCFA5D-BB81-4901-A6B2-31D5673C8CF8}" dt="2023-07-10T08:25:50.925" v="1675" actId="478"/>
          <ac:picMkLst>
            <pc:docMk/>
            <pc:sldMk cId="3253787467" sldId="259"/>
            <ac:picMk id="6" creationId="{AB788D3A-CFBE-5D89-6FF7-8C91B4A74FCF}"/>
          </ac:picMkLst>
        </pc:picChg>
        <pc:picChg chg="add del mod">
          <ac:chgData name="Leung, Kenneth" userId="a31136a0-b1a6-47ba-8b40-d38c5cdd8f98" providerId="ADAL" clId="{BFCCFA5D-BB81-4901-A6B2-31D5673C8CF8}" dt="2023-07-10T07:41:18.627" v="465" actId="478"/>
          <ac:picMkLst>
            <pc:docMk/>
            <pc:sldMk cId="3253787467" sldId="259"/>
            <ac:picMk id="24" creationId="{AA90B0F4-D834-3A25-D3E1-70CE035FC663}"/>
          </ac:picMkLst>
        </pc:picChg>
        <pc:picChg chg="add mod">
          <ac:chgData name="Leung, Kenneth" userId="a31136a0-b1a6-47ba-8b40-d38c5cdd8f98" providerId="ADAL" clId="{BFCCFA5D-BB81-4901-A6B2-31D5673C8CF8}" dt="2023-07-10T08:36:14.612" v="2021" actId="1035"/>
          <ac:picMkLst>
            <pc:docMk/>
            <pc:sldMk cId="3253787467" sldId="259"/>
            <ac:picMk id="33" creationId="{CDC4496F-18A6-19F5-00EF-2C648400C225}"/>
          </ac:picMkLst>
        </pc:picChg>
        <pc:picChg chg="add mod">
          <ac:chgData name="Leung, Kenneth" userId="a31136a0-b1a6-47ba-8b40-d38c5cdd8f98" providerId="ADAL" clId="{BFCCFA5D-BB81-4901-A6B2-31D5673C8CF8}" dt="2023-07-10T08:36:14.612" v="2021" actId="1035"/>
          <ac:picMkLst>
            <pc:docMk/>
            <pc:sldMk cId="3253787467" sldId="259"/>
            <ac:picMk id="48" creationId="{2D436E11-ABF4-2A35-0840-8CDF851D443A}"/>
          </ac:picMkLst>
        </pc:picChg>
        <pc:picChg chg="add mod">
          <ac:chgData name="Leung, Kenneth" userId="a31136a0-b1a6-47ba-8b40-d38c5cdd8f98" providerId="ADAL" clId="{BFCCFA5D-BB81-4901-A6B2-31D5673C8CF8}" dt="2023-07-10T08:36:14.612" v="2021" actId="1035"/>
          <ac:picMkLst>
            <pc:docMk/>
            <pc:sldMk cId="3253787467" sldId="259"/>
            <ac:picMk id="50" creationId="{BD7A45E2-DAF0-81AA-1D9F-948D2F9A1838}"/>
          </ac:picMkLst>
        </pc:picChg>
        <pc:picChg chg="del mod">
          <ac:chgData name="Leung, Kenneth" userId="a31136a0-b1a6-47ba-8b40-d38c5cdd8f98" providerId="ADAL" clId="{BFCCFA5D-BB81-4901-A6B2-31D5673C8CF8}" dt="2023-07-10T07:55:34.421" v="868" actId="478"/>
          <ac:picMkLst>
            <pc:docMk/>
            <pc:sldMk cId="3253787467" sldId="259"/>
            <ac:picMk id="56" creationId="{CFFCE1E9-1442-7750-B163-82543C30872B}"/>
          </ac:picMkLst>
        </pc:picChg>
        <pc:picChg chg="add mod">
          <ac:chgData name="Leung, Kenneth" userId="a31136a0-b1a6-47ba-8b40-d38c5cdd8f98" providerId="ADAL" clId="{BFCCFA5D-BB81-4901-A6B2-31D5673C8CF8}" dt="2023-07-10T08:36:14.612" v="2021" actId="1035"/>
          <ac:picMkLst>
            <pc:docMk/>
            <pc:sldMk cId="3253787467" sldId="259"/>
            <ac:picMk id="60" creationId="{02C6E3B0-C4EB-8E03-512F-2B0639F12FEF}"/>
          </ac:picMkLst>
        </pc:picChg>
        <pc:picChg chg="add del mod">
          <ac:chgData name="Leung, Kenneth" userId="a31136a0-b1a6-47ba-8b40-d38c5cdd8f98" providerId="ADAL" clId="{BFCCFA5D-BB81-4901-A6B2-31D5673C8CF8}" dt="2023-07-10T07:45:08.605" v="530" actId="478"/>
          <ac:picMkLst>
            <pc:docMk/>
            <pc:sldMk cId="3253787467" sldId="259"/>
            <ac:picMk id="1026" creationId="{54B74BA5-CDE3-4828-D4F4-DCFEEC01604F}"/>
          </ac:picMkLst>
        </pc:picChg>
        <pc:picChg chg="add mod">
          <ac:chgData name="Leung, Kenneth" userId="a31136a0-b1a6-47ba-8b40-d38c5cdd8f98" providerId="ADAL" clId="{BFCCFA5D-BB81-4901-A6B2-31D5673C8CF8}" dt="2023-07-10T08:36:14.612" v="2021" actId="1035"/>
          <ac:picMkLst>
            <pc:docMk/>
            <pc:sldMk cId="3253787467" sldId="259"/>
            <ac:picMk id="1095" creationId="{B7A6EB02-D065-C92B-412D-955BF4EAC717}"/>
          </ac:picMkLst>
        </pc:picChg>
        <pc:picChg chg="add del">
          <ac:chgData name="Leung, Kenneth" userId="a31136a0-b1a6-47ba-8b40-d38c5cdd8f98" providerId="ADAL" clId="{BFCCFA5D-BB81-4901-A6B2-31D5673C8CF8}" dt="2023-07-10T08:30:47.680" v="1813" actId="22"/>
          <ac:picMkLst>
            <pc:docMk/>
            <pc:sldMk cId="3253787467" sldId="259"/>
            <ac:picMk id="1102" creationId="{7769204A-0420-8D6B-BF66-1855BF7A78A1}"/>
          </ac:picMkLst>
        </pc:picChg>
        <pc:picChg chg="add del mod">
          <ac:chgData name="Leung, Kenneth" userId="a31136a0-b1a6-47ba-8b40-d38c5cdd8f98" providerId="ADAL" clId="{BFCCFA5D-BB81-4901-A6B2-31D5673C8CF8}" dt="2023-07-10T08:45:25.861" v="2022" actId="478"/>
          <ac:picMkLst>
            <pc:docMk/>
            <pc:sldMk cId="3253787467" sldId="259"/>
            <ac:picMk id="1105" creationId="{C71ECC63-E24C-42AE-4A38-24FCD5980066}"/>
          </ac:picMkLst>
        </pc:picChg>
        <pc:cxnChg chg="add del mod">
          <ac:chgData name="Leung, Kenneth" userId="a31136a0-b1a6-47ba-8b40-d38c5cdd8f98" providerId="ADAL" clId="{BFCCFA5D-BB81-4901-A6B2-31D5673C8CF8}" dt="2023-07-10T08:00:35.718" v="990" actId="478"/>
          <ac:cxnSpMkLst>
            <pc:docMk/>
            <pc:sldMk cId="3253787467" sldId="259"/>
            <ac:cxnSpMk id="62" creationId="{B498EFCA-6C96-26F4-B867-452176AB2DD2}"/>
          </ac:cxnSpMkLst>
        </pc:cxnChg>
        <pc:cxnChg chg="add del mod">
          <ac:chgData name="Leung, Kenneth" userId="a31136a0-b1a6-47ba-8b40-d38c5cdd8f98" providerId="ADAL" clId="{BFCCFA5D-BB81-4901-A6B2-31D5673C8CF8}" dt="2023-07-10T08:00:28.284" v="985" actId="478"/>
          <ac:cxnSpMkLst>
            <pc:docMk/>
            <pc:sldMk cId="3253787467" sldId="259"/>
            <ac:cxnSpMk id="63" creationId="{806E5BB5-CF77-4680-598D-D0D750AB22AE}"/>
          </ac:cxnSpMkLst>
        </pc:cxnChg>
        <pc:cxnChg chg="add mod">
          <ac:chgData name="Leung, Kenneth" userId="a31136a0-b1a6-47ba-8b40-d38c5cdd8f98" providerId="ADAL" clId="{BFCCFA5D-BB81-4901-A6B2-31D5673C8CF8}" dt="2023-07-10T08:36:14.612" v="2021" actId="1035"/>
          <ac:cxnSpMkLst>
            <pc:docMk/>
            <pc:sldMk cId="3253787467" sldId="259"/>
            <ac:cxnSpMk id="1027" creationId="{105CAF93-6066-E73B-3FC5-6BEFA92E456E}"/>
          </ac:cxnSpMkLst>
        </pc:cxnChg>
        <pc:cxnChg chg="add mod">
          <ac:chgData name="Leung, Kenneth" userId="a31136a0-b1a6-47ba-8b40-d38c5cdd8f98" providerId="ADAL" clId="{BFCCFA5D-BB81-4901-A6B2-31D5673C8CF8}" dt="2023-07-10T08:36:14.612" v="2021" actId="1035"/>
          <ac:cxnSpMkLst>
            <pc:docMk/>
            <pc:sldMk cId="3253787467" sldId="259"/>
            <ac:cxnSpMk id="1034" creationId="{9F96773E-93A1-FC91-9100-35A2BF9B9E4D}"/>
          </ac:cxnSpMkLst>
        </pc:cxnChg>
        <pc:cxnChg chg="add mod">
          <ac:chgData name="Leung, Kenneth" userId="a31136a0-b1a6-47ba-8b40-d38c5cdd8f98" providerId="ADAL" clId="{BFCCFA5D-BB81-4901-A6B2-31D5673C8CF8}" dt="2023-07-10T08:36:14.612" v="2021" actId="1035"/>
          <ac:cxnSpMkLst>
            <pc:docMk/>
            <pc:sldMk cId="3253787467" sldId="259"/>
            <ac:cxnSpMk id="1037" creationId="{E903B04F-FB4D-63D1-7337-3452EF0A8A2F}"/>
          </ac:cxnSpMkLst>
        </pc:cxnChg>
        <pc:cxnChg chg="add mod">
          <ac:chgData name="Leung, Kenneth" userId="a31136a0-b1a6-47ba-8b40-d38c5cdd8f98" providerId="ADAL" clId="{BFCCFA5D-BB81-4901-A6B2-31D5673C8CF8}" dt="2023-07-10T08:36:14.612" v="2021" actId="1035"/>
          <ac:cxnSpMkLst>
            <pc:docMk/>
            <pc:sldMk cId="3253787467" sldId="259"/>
            <ac:cxnSpMk id="1042" creationId="{A27509E0-2790-6A39-B11F-336675A74180}"/>
          </ac:cxnSpMkLst>
        </pc:cxnChg>
        <pc:cxnChg chg="add mod">
          <ac:chgData name="Leung, Kenneth" userId="a31136a0-b1a6-47ba-8b40-d38c5cdd8f98" providerId="ADAL" clId="{BFCCFA5D-BB81-4901-A6B2-31D5673C8CF8}" dt="2023-07-10T08:36:14.612" v="2021" actId="1035"/>
          <ac:cxnSpMkLst>
            <pc:docMk/>
            <pc:sldMk cId="3253787467" sldId="259"/>
            <ac:cxnSpMk id="1047" creationId="{AA361EA2-B4DF-B5E9-18F8-2A84BF2BFA45}"/>
          </ac:cxnSpMkLst>
        </pc:cxnChg>
        <pc:cxnChg chg="add mod">
          <ac:chgData name="Leung, Kenneth" userId="a31136a0-b1a6-47ba-8b40-d38c5cdd8f98" providerId="ADAL" clId="{BFCCFA5D-BB81-4901-A6B2-31D5673C8CF8}" dt="2023-07-10T08:36:14.612" v="2021" actId="1035"/>
          <ac:cxnSpMkLst>
            <pc:docMk/>
            <pc:sldMk cId="3253787467" sldId="259"/>
            <ac:cxnSpMk id="1051" creationId="{A8B6F34F-4F8D-9061-04C4-C0185387917B}"/>
          </ac:cxnSpMkLst>
        </pc:cxnChg>
        <pc:cxnChg chg="add mod">
          <ac:chgData name="Leung, Kenneth" userId="a31136a0-b1a6-47ba-8b40-d38c5cdd8f98" providerId="ADAL" clId="{BFCCFA5D-BB81-4901-A6B2-31D5673C8CF8}" dt="2023-07-10T08:36:14.612" v="2021" actId="1035"/>
          <ac:cxnSpMkLst>
            <pc:docMk/>
            <pc:sldMk cId="3253787467" sldId="259"/>
            <ac:cxnSpMk id="1055" creationId="{A8BCE908-562F-732B-9C13-EBB58A6D1DC3}"/>
          </ac:cxnSpMkLst>
        </pc:cxnChg>
        <pc:cxnChg chg="add mod">
          <ac:chgData name="Leung, Kenneth" userId="a31136a0-b1a6-47ba-8b40-d38c5cdd8f98" providerId="ADAL" clId="{BFCCFA5D-BB81-4901-A6B2-31D5673C8CF8}" dt="2023-07-10T08:36:14.612" v="2021" actId="1035"/>
          <ac:cxnSpMkLst>
            <pc:docMk/>
            <pc:sldMk cId="3253787467" sldId="259"/>
            <ac:cxnSpMk id="1058" creationId="{B1519FBB-9F92-BBD6-D4B4-B4DC2A5C7E0B}"/>
          </ac:cxnSpMkLst>
        </pc:cxnChg>
        <pc:cxnChg chg="add mod">
          <ac:chgData name="Leung, Kenneth" userId="a31136a0-b1a6-47ba-8b40-d38c5cdd8f98" providerId="ADAL" clId="{BFCCFA5D-BB81-4901-A6B2-31D5673C8CF8}" dt="2023-07-10T08:36:14.612" v="2021" actId="1035"/>
          <ac:cxnSpMkLst>
            <pc:docMk/>
            <pc:sldMk cId="3253787467" sldId="259"/>
            <ac:cxnSpMk id="1071" creationId="{DB5492AB-4EDE-9D89-3276-45F645CAB966}"/>
          </ac:cxnSpMkLst>
        </pc:cxnChg>
        <pc:cxnChg chg="add mod">
          <ac:chgData name="Leung, Kenneth" userId="a31136a0-b1a6-47ba-8b40-d38c5cdd8f98" providerId="ADAL" clId="{BFCCFA5D-BB81-4901-A6B2-31D5673C8CF8}" dt="2023-07-10T08:36:14.612" v="2021" actId="1035"/>
          <ac:cxnSpMkLst>
            <pc:docMk/>
            <pc:sldMk cId="3253787467" sldId="259"/>
            <ac:cxnSpMk id="1075" creationId="{F4C7B292-466A-4855-05C0-6DA49D97D4E5}"/>
          </ac:cxnSpMkLst>
        </pc:cxnChg>
        <pc:cxnChg chg="add del mod">
          <ac:chgData name="Leung, Kenneth" userId="a31136a0-b1a6-47ba-8b40-d38c5cdd8f98" providerId="ADAL" clId="{BFCCFA5D-BB81-4901-A6B2-31D5673C8CF8}" dt="2023-07-10T08:36:14.612" v="2021" actId="1035"/>
          <ac:cxnSpMkLst>
            <pc:docMk/>
            <pc:sldMk cId="3253787467" sldId="259"/>
            <ac:cxnSpMk id="1083" creationId="{A62A1A47-B27F-55D8-ECD2-18DF90BB7A4C}"/>
          </ac:cxnSpMkLst>
        </pc:cxnChg>
        <pc:cxnChg chg="add mod">
          <ac:chgData name="Leung, Kenneth" userId="a31136a0-b1a6-47ba-8b40-d38c5cdd8f98" providerId="ADAL" clId="{BFCCFA5D-BB81-4901-A6B2-31D5673C8CF8}" dt="2023-07-10T08:36:14.612" v="2021" actId="1035"/>
          <ac:cxnSpMkLst>
            <pc:docMk/>
            <pc:sldMk cId="3253787467" sldId="259"/>
            <ac:cxnSpMk id="1087" creationId="{FE65F6F3-775F-BE10-AAC8-CD4BD0873D7C}"/>
          </ac:cxnSpMkLst>
        </pc:cxnChg>
        <pc:cxnChg chg="add del mod">
          <ac:chgData name="Leung, Kenneth" userId="a31136a0-b1a6-47ba-8b40-d38c5cdd8f98" providerId="ADAL" clId="{BFCCFA5D-BB81-4901-A6B2-31D5673C8CF8}" dt="2023-07-10T08:34:48.257" v="1960" actId="478"/>
          <ac:cxnSpMkLst>
            <pc:docMk/>
            <pc:sldMk cId="3253787467" sldId="259"/>
            <ac:cxnSpMk id="1118" creationId="{F5EB8D87-DBDF-FDED-9063-982078F04228}"/>
          </ac:cxnSpMkLst>
        </pc:cxnChg>
        <pc:cxnChg chg="add mod">
          <ac:chgData name="Leung, Kenneth" userId="a31136a0-b1a6-47ba-8b40-d38c5cdd8f98" providerId="ADAL" clId="{BFCCFA5D-BB81-4901-A6B2-31D5673C8CF8}" dt="2023-07-10T08:36:14.612" v="2021" actId="1035"/>
          <ac:cxnSpMkLst>
            <pc:docMk/>
            <pc:sldMk cId="3253787467" sldId="259"/>
            <ac:cxnSpMk id="1123" creationId="{79C0BCCA-482E-CBE0-9394-C2C423AC51FA}"/>
          </ac:cxnSpMkLst>
        </pc:cxnChg>
      </pc:sldChg>
      <pc:sldChg chg="del">
        <pc:chgData name="Leung, Kenneth" userId="a31136a0-b1a6-47ba-8b40-d38c5cdd8f98" providerId="ADAL" clId="{BFCCFA5D-BB81-4901-A6B2-31D5673C8CF8}" dt="2023-07-10T06:57:22.598" v="1" actId="47"/>
        <pc:sldMkLst>
          <pc:docMk/>
          <pc:sldMk cId="1397681022" sldId="260"/>
        </pc:sldMkLst>
      </pc:sldChg>
      <pc:sldChg chg="del">
        <pc:chgData name="Leung, Kenneth" userId="a31136a0-b1a6-47ba-8b40-d38c5cdd8f98" providerId="ADAL" clId="{BFCCFA5D-BB81-4901-A6B2-31D5673C8CF8}" dt="2023-07-10T06:57:21.997" v="0" actId="47"/>
        <pc:sldMkLst>
          <pc:docMk/>
          <pc:sldMk cId="3141720297" sldId="26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10/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1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Trebuchet MS" panose="020B0603020202020204" pitchFamily="34" charset="0"/>
                <a:sym typeface="Trebuchet MS" panose="020B0603020202020204" pitchFamily="34" charset="0"/>
              </a:rPr>
              <a:t>Copyright © 2023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solidFill>
                <a:latin typeface="+mn-lt"/>
                <a:sym typeface="Trebuchet MS" panose="020B0603020202020204" pitchFamily="34" charset="0"/>
              </a:rPr>
              <a:t>Copyright © 2023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SG" sz="700">
                <a:solidFill>
                  <a:schemeClr val="bg1">
                    <a:lumMod val="50000"/>
                  </a:schemeClr>
                </a:solidFill>
                <a:latin typeface="+mn-lt"/>
                <a:sym typeface="Trebuchet MS" panose="020B0603020202020204" pitchFamily="34" charset="0"/>
              </a:rPr>
              <a:t>Copyright © 2023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20.bin"/><Relationship Id="rId7" Type="http://schemas.openxmlformats.org/officeDocument/2006/relationships/image" Target="../media/image13.png"/><Relationship Id="rId2" Type="http://schemas.openxmlformats.org/officeDocument/2006/relationships/slideLayout" Target="../slideLayouts/slideLayout30.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2068BE-8BB8-DA0C-806C-F3D2B22D730A}"/>
              </a:ext>
            </a:extLst>
          </p:cNvPr>
          <p:cNvGraphicFramePr>
            <a:graphicFrameLocks noChangeAspect="1"/>
          </p:cNvGraphicFramePr>
          <p:nvPr>
            <p:custDataLst>
              <p:tags r:id="rId1"/>
            </p:custDataLst>
            <p:extLst>
              <p:ext uri="{D42A27DB-BD31-4B8C-83A1-F6EECF244321}">
                <p14:modId xmlns:p14="http://schemas.microsoft.com/office/powerpoint/2010/main" val="282920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4" imgH="234" progId="TCLayout.ActiveDocument.1">
                  <p:embed/>
                </p:oleObj>
              </mc:Choice>
              <mc:Fallback>
                <p:oleObj name="think-cell Slide" r:id="rId4" imgW="234" imgH="234" progId="TCLayout.ActiveDocument.1">
                  <p:embed/>
                  <p:pic>
                    <p:nvPicPr>
                      <p:cNvPr id="6" name="think-cell data - do not delete" hidden="1">
                        <a:extLst>
                          <a:ext uri="{FF2B5EF4-FFF2-40B4-BE49-F238E27FC236}">
                            <a16:creationId xmlns:a16="http://schemas.microsoft.com/office/drawing/2014/main" id="{4E2068BE-8BB8-DA0C-806C-F3D2B22D73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2841375" y="2180887"/>
            <a:ext cx="4052911" cy="249299"/>
          </a:xfrm>
        </p:spPr>
        <p:txBody>
          <a:bodyPr vert="horz"/>
          <a:lstStyle/>
          <a:p>
            <a:r>
              <a:rPr lang="en-US" sz="1800" b="1" dirty="0">
                <a:solidFill>
                  <a:srgbClr val="575757"/>
                </a:solidFill>
              </a:rPr>
              <a:t>16-bit floating point value (FP16)</a:t>
            </a:r>
          </a:p>
        </p:txBody>
      </p:sp>
      <p:graphicFrame>
        <p:nvGraphicFramePr>
          <p:cNvPr id="2" name="Table 3">
            <a:extLst>
              <a:ext uri="{FF2B5EF4-FFF2-40B4-BE49-F238E27FC236}">
                <a16:creationId xmlns:a16="http://schemas.microsoft.com/office/drawing/2014/main" id="{604B37AE-3466-40FD-981C-6382C3BB0414}"/>
              </a:ext>
            </a:extLst>
          </p:cNvPr>
          <p:cNvGraphicFramePr>
            <a:graphicFrameLocks noGrp="1"/>
          </p:cNvGraphicFramePr>
          <p:nvPr>
            <p:extLst>
              <p:ext uri="{D42A27DB-BD31-4B8C-83A1-F6EECF244321}">
                <p14:modId xmlns:p14="http://schemas.microsoft.com/office/powerpoint/2010/main" val="809861006"/>
              </p:ext>
            </p:extLst>
          </p:nvPr>
        </p:nvGraphicFramePr>
        <p:xfrm>
          <a:off x="2841375" y="2644718"/>
          <a:ext cx="7842000" cy="370840"/>
        </p:xfrm>
        <a:graphic>
          <a:graphicData uri="http://schemas.openxmlformats.org/drawingml/2006/table">
            <a:tbl>
              <a:tblPr firstRow="1" bandRow="1">
                <a:tableStyleId>{5C22544A-7EE6-4342-B048-85BDC9FD1C3A}</a:tableStyleId>
              </a:tblPr>
              <a:tblGrid>
                <a:gridCol w="490125">
                  <a:extLst>
                    <a:ext uri="{9D8B030D-6E8A-4147-A177-3AD203B41FA5}">
                      <a16:colId xmlns:a16="http://schemas.microsoft.com/office/drawing/2014/main" val="1498834980"/>
                    </a:ext>
                  </a:extLst>
                </a:gridCol>
                <a:gridCol w="490125">
                  <a:extLst>
                    <a:ext uri="{9D8B030D-6E8A-4147-A177-3AD203B41FA5}">
                      <a16:colId xmlns:a16="http://schemas.microsoft.com/office/drawing/2014/main" val="2186378488"/>
                    </a:ext>
                  </a:extLst>
                </a:gridCol>
                <a:gridCol w="490125">
                  <a:extLst>
                    <a:ext uri="{9D8B030D-6E8A-4147-A177-3AD203B41FA5}">
                      <a16:colId xmlns:a16="http://schemas.microsoft.com/office/drawing/2014/main" val="131198452"/>
                    </a:ext>
                  </a:extLst>
                </a:gridCol>
                <a:gridCol w="490125">
                  <a:extLst>
                    <a:ext uri="{9D8B030D-6E8A-4147-A177-3AD203B41FA5}">
                      <a16:colId xmlns:a16="http://schemas.microsoft.com/office/drawing/2014/main" val="2355649060"/>
                    </a:ext>
                  </a:extLst>
                </a:gridCol>
                <a:gridCol w="490125">
                  <a:extLst>
                    <a:ext uri="{9D8B030D-6E8A-4147-A177-3AD203B41FA5}">
                      <a16:colId xmlns:a16="http://schemas.microsoft.com/office/drawing/2014/main" val="1568144847"/>
                    </a:ext>
                  </a:extLst>
                </a:gridCol>
                <a:gridCol w="490125">
                  <a:extLst>
                    <a:ext uri="{9D8B030D-6E8A-4147-A177-3AD203B41FA5}">
                      <a16:colId xmlns:a16="http://schemas.microsoft.com/office/drawing/2014/main" val="3946968054"/>
                    </a:ext>
                  </a:extLst>
                </a:gridCol>
                <a:gridCol w="490125">
                  <a:extLst>
                    <a:ext uri="{9D8B030D-6E8A-4147-A177-3AD203B41FA5}">
                      <a16:colId xmlns:a16="http://schemas.microsoft.com/office/drawing/2014/main" val="947036753"/>
                    </a:ext>
                  </a:extLst>
                </a:gridCol>
                <a:gridCol w="490125">
                  <a:extLst>
                    <a:ext uri="{9D8B030D-6E8A-4147-A177-3AD203B41FA5}">
                      <a16:colId xmlns:a16="http://schemas.microsoft.com/office/drawing/2014/main" val="1531504910"/>
                    </a:ext>
                  </a:extLst>
                </a:gridCol>
                <a:gridCol w="490125">
                  <a:extLst>
                    <a:ext uri="{9D8B030D-6E8A-4147-A177-3AD203B41FA5}">
                      <a16:colId xmlns:a16="http://schemas.microsoft.com/office/drawing/2014/main" val="463117293"/>
                    </a:ext>
                  </a:extLst>
                </a:gridCol>
                <a:gridCol w="490125">
                  <a:extLst>
                    <a:ext uri="{9D8B030D-6E8A-4147-A177-3AD203B41FA5}">
                      <a16:colId xmlns:a16="http://schemas.microsoft.com/office/drawing/2014/main" val="3426036873"/>
                    </a:ext>
                  </a:extLst>
                </a:gridCol>
                <a:gridCol w="490125">
                  <a:extLst>
                    <a:ext uri="{9D8B030D-6E8A-4147-A177-3AD203B41FA5}">
                      <a16:colId xmlns:a16="http://schemas.microsoft.com/office/drawing/2014/main" val="903399036"/>
                    </a:ext>
                  </a:extLst>
                </a:gridCol>
                <a:gridCol w="490125">
                  <a:extLst>
                    <a:ext uri="{9D8B030D-6E8A-4147-A177-3AD203B41FA5}">
                      <a16:colId xmlns:a16="http://schemas.microsoft.com/office/drawing/2014/main" val="756701815"/>
                    </a:ext>
                  </a:extLst>
                </a:gridCol>
                <a:gridCol w="490125">
                  <a:extLst>
                    <a:ext uri="{9D8B030D-6E8A-4147-A177-3AD203B41FA5}">
                      <a16:colId xmlns:a16="http://schemas.microsoft.com/office/drawing/2014/main" val="3047147435"/>
                    </a:ext>
                  </a:extLst>
                </a:gridCol>
                <a:gridCol w="490125">
                  <a:extLst>
                    <a:ext uri="{9D8B030D-6E8A-4147-A177-3AD203B41FA5}">
                      <a16:colId xmlns:a16="http://schemas.microsoft.com/office/drawing/2014/main" val="698880894"/>
                    </a:ext>
                  </a:extLst>
                </a:gridCol>
                <a:gridCol w="490125">
                  <a:extLst>
                    <a:ext uri="{9D8B030D-6E8A-4147-A177-3AD203B41FA5}">
                      <a16:colId xmlns:a16="http://schemas.microsoft.com/office/drawing/2014/main" val="4143417698"/>
                    </a:ext>
                  </a:extLst>
                </a:gridCol>
                <a:gridCol w="490125">
                  <a:extLst>
                    <a:ext uri="{9D8B030D-6E8A-4147-A177-3AD203B41FA5}">
                      <a16:colId xmlns:a16="http://schemas.microsoft.com/office/drawing/2014/main" val="2695868130"/>
                    </a:ext>
                  </a:extLst>
                </a:gridCol>
              </a:tblGrid>
              <a:tr h="370840">
                <a:tc>
                  <a:txBody>
                    <a:bodyPr/>
                    <a:lstStyle/>
                    <a:p>
                      <a:pPr algn="ctr"/>
                      <a:r>
                        <a:rPr lang="en-US" dirty="0"/>
                        <a:t>S</a:t>
                      </a:r>
                    </a:p>
                  </a:txBody>
                  <a:tcPr>
                    <a:solidFill>
                      <a:srgbClr val="3EAD92"/>
                    </a:solidFill>
                  </a:tcPr>
                </a:tc>
                <a:tc>
                  <a:txBody>
                    <a:bodyPr/>
                    <a:lstStyle/>
                    <a:p>
                      <a:pPr algn="ctr"/>
                      <a:r>
                        <a:rPr lang="en-US" dirty="0"/>
                        <a:t>E</a:t>
                      </a:r>
                    </a:p>
                  </a:txBody>
                  <a:tcPr>
                    <a:solidFill>
                      <a:srgbClr val="A8B21C"/>
                    </a:solidFill>
                  </a:tcPr>
                </a:tc>
                <a:tc>
                  <a:txBody>
                    <a:bodyPr/>
                    <a:lstStyle/>
                    <a:p>
                      <a:pPr algn="ctr"/>
                      <a:r>
                        <a:rPr lang="en-US" dirty="0"/>
                        <a:t>E</a:t>
                      </a:r>
                    </a:p>
                  </a:txBody>
                  <a:tcPr>
                    <a:solidFill>
                      <a:srgbClr val="A8B21C"/>
                    </a:solidFill>
                  </a:tcPr>
                </a:tc>
                <a:tc>
                  <a:txBody>
                    <a:bodyPr/>
                    <a:lstStyle/>
                    <a:p>
                      <a:pPr algn="ctr"/>
                      <a:r>
                        <a:rPr lang="en-US" dirty="0"/>
                        <a:t>E</a:t>
                      </a:r>
                    </a:p>
                  </a:txBody>
                  <a:tcPr>
                    <a:solidFill>
                      <a:srgbClr val="A8B21C"/>
                    </a:solidFill>
                  </a:tcPr>
                </a:tc>
                <a:tc>
                  <a:txBody>
                    <a:bodyPr/>
                    <a:lstStyle/>
                    <a:p>
                      <a:pPr algn="ctr"/>
                      <a:r>
                        <a:rPr lang="en-US" dirty="0"/>
                        <a:t>E</a:t>
                      </a:r>
                    </a:p>
                  </a:txBody>
                  <a:tcPr>
                    <a:solidFill>
                      <a:srgbClr val="A8B21C"/>
                    </a:solidFill>
                  </a:tcPr>
                </a:tc>
                <a:tc>
                  <a:txBody>
                    <a:bodyPr/>
                    <a:lstStyle/>
                    <a:p>
                      <a:pPr algn="ctr"/>
                      <a:r>
                        <a:rPr lang="en-US" dirty="0"/>
                        <a:t>E</a:t>
                      </a:r>
                    </a:p>
                  </a:txBody>
                  <a:tcPr>
                    <a:solidFill>
                      <a:srgbClr val="A8B21C"/>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extLst>
                  <a:ext uri="{0D108BD9-81ED-4DB2-BD59-A6C34878D82A}">
                    <a16:rowId xmlns:a16="http://schemas.microsoft.com/office/drawing/2014/main" val="2152927660"/>
                  </a:ext>
                </a:extLst>
              </a:tr>
            </a:tbl>
          </a:graphicData>
        </a:graphic>
      </p:graphicFrame>
      <p:graphicFrame>
        <p:nvGraphicFramePr>
          <p:cNvPr id="5" name="Table 4">
            <a:extLst>
              <a:ext uri="{FF2B5EF4-FFF2-40B4-BE49-F238E27FC236}">
                <a16:creationId xmlns:a16="http://schemas.microsoft.com/office/drawing/2014/main" id="{3E016F64-E323-D3A4-FE54-F109A11C511E}"/>
              </a:ext>
            </a:extLst>
          </p:cNvPr>
          <p:cNvGraphicFramePr>
            <a:graphicFrameLocks noGrp="1"/>
          </p:cNvGraphicFramePr>
          <p:nvPr>
            <p:extLst>
              <p:ext uri="{D42A27DB-BD31-4B8C-83A1-F6EECF244321}">
                <p14:modId xmlns:p14="http://schemas.microsoft.com/office/powerpoint/2010/main" val="1839897042"/>
              </p:ext>
            </p:extLst>
          </p:nvPr>
        </p:nvGraphicFramePr>
        <p:xfrm>
          <a:off x="2841375" y="4370332"/>
          <a:ext cx="3921000" cy="370840"/>
        </p:xfrm>
        <a:graphic>
          <a:graphicData uri="http://schemas.openxmlformats.org/drawingml/2006/table">
            <a:tbl>
              <a:tblPr firstRow="1" bandRow="1">
                <a:tableStyleId>{5C22544A-7EE6-4342-B048-85BDC9FD1C3A}</a:tableStyleId>
              </a:tblPr>
              <a:tblGrid>
                <a:gridCol w="490125">
                  <a:extLst>
                    <a:ext uri="{9D8B030D-6E8A-4147-A177-3AD203B41FA5}">
                      <a16:colId xmlns:a16="http://schemas.microsoft.com/office/drawing/2014/main" val="518564982"/>
                    </a:ext>
                  </a:extLst>
                </a:gridCol>
                <a:gridCol w="490125">
                  <a:extLst>
                    <a:ext uri="{9D8B030D-6E8A-4147-A177-3AD203B41FA5}">
                      <a16:colId xmlns:a16="http://schemas.microsoft.com/office/drawing/2014/main" val="1335205406"/>
                    </a:ext>
                  </a:extLst>
                </a:gridCol>
                <a:gridCol w="490125">
                  <a:extLst>
                    <a:ext uri="{9D8B030D-6E8A-4147-A177-3AD203B41FA5}">
                      <a16:colId xmlns:a16="http://schemas.microsoft.com/office/drawing/2014/main" val="1657672963"/>
                    </a:ext>
                  </a:extLst>
                </a:gridCol>
                <a:gridCol w="490125">
                  <a:extLst>
                    <a:ext uri="{9D8B030D-6E8A-4147-A177-3AD203B41FA5}">
                      <a16:colId xmlns:a16="http://schemas.microsoft.com/office/drawing/2014/main" val="1142557678"/>
                    </a:ext>
                  </a:extLst>
                </a:gridCol>
                <a:gridCol w="490125">
                  <a:extLst>
                    <a:ext uri="{9D8B030D-6E8A-4147-A177-3AD203B41FA5}">
                      <a16:colId xmlns:a16="http://schemas.microsoft.com/office/drawing/2014/main" val="3883275479"/>
                    </a:ext>
                  </a:extLst>
                </a:gridCol>
                <a:gridCol w="490125">
                  <a:extLst>
                    <a:ext uri="{9D8B030D-6E8A-4147-A177-3AD203B41FA5}">
                      <a16:colId xmlns:a16="http://schemas.microsoft.com/office/drawing/2014/main" val="1393671048"/>
                    </a:ext>
                  </a:extLst>
                </a:gridCol>
                <a:gridCol w="490125">
                  <a:extLst>
                    <a:ext uri="{9D8B030D-6E8A-4147-A177-3AD203B41FA5}">
                      <a16:colId xmlns:a16="http://schemas.microsoft.com/office/drawing/2014/main" val="1298678393"/>
                    </a:ext>
                  </a:extLst>
                </a:gridCol>
                <a:gridCol w="490125">
                  <a:extLst>
                    <a:ext uri="{9D8B030D-6E8A-4147-A177-3AD203B41FA5}">
                      <a16:colId xmlns:a16="http://schemas.microsoft.com/office/drawing/2014/main" val="206546246"/>
                    </a:ext>
                  </a:extLst>
                </a:gridCol>
              </a:tblGrid>
              <a:tr h="370840">
                <a:tc>
                  <a:txBody>
                    <a:bodyPr/>
                    <a:lstStyle/>
                    <a:p>
                      <a:pPr algn="ctr"/>
                      <a:r>
                        <a:rPr lang="en-US" dirty="0"/>
                        <a:t>S</a:t>
                      </a:r>
                    </a:p>
                  </a:txBody>
                  <a:tcPr>
                    <a:solidFill>
                      <a:srgbClr val="3EAD92"/>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tc>
                  <a:txBody>
                    <a:bodyPr/>
                    <a:lstStyle/>
                    <a:p>
                      <a:pPr algn="ctr"/>
                      <a:r>
                        <a:rPr lang="en-US" dirty="0"/>
                        <a:t>M</a:t>
                      </a:r>
                    </a:p>
                  </a:txBody>
                  <a:tcPr>
                    <a:solidFill>
                      <a:srgbClr val="197A56"/>
                    </a:solidFill>
                  </a:tcPr>
                </a:tc>
                <a:extLst>
                  <a:ext uri="{0D108BD9-81ED-4DB2-BD59-A6C34878D82A}">
                    <a16:rowId xmlns:a16="http://schemas.microsoft.com/office/drawing/2014/main" val="2703327727"/>
                  </a:ext>
                </a:extLst>
              </a:tr>
            </a:tbl>
          </a:graphicData>
        </a:graphic>
      </p:graphicFrame>
      <p:sp>
        <p:nvSpPr>
          <p:cNvPr id="9" name="Title 2">
            <a:extLst>
              <a:ext uri="{FF2B5EF4-FFF2-40B4-BE49-F238E27FC236}">
                <a16:creationId xmlns:a16="http://schemas.microsoft.com/office/drawing/2014/main" id="{7B500363-AFF6-1E05-4B42-CD38A7CA6AE0}"/>
              </a:ext>
            </a:extLst>
          </p:cNvPr>
          <p:cNvSpPr txBox="1">
            <a:spLocks/>
          </p:cNvSpPr>
          <p:nvPr/>
        </p:nvSpPr>
        <p:spPr>
          <a:xfrm>
            <a:off x="2841375" y="3983715"/>
            <a:ext cx="2947104"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1800" b="1" dirty="0">
                <a:solidFill>
                  <a:srgbClr val="575757"/>
                </a:solidFill>
              </a:rPr>
              <a:t>8-bit integer value (INT8)</a:t>
            </a:r>
          </a:p>
        </p:txBody>
      </p:sp>
      <p:cxnSp>
        <p:nvCxnSpPr>
          <p:cNvPr id="14" name="Connector: Elbow 13">
            <a:extLst>
              <a:ext uri="{FF2B5EF4-FFF2-40B4-BE49-F238E27FC236}">
                <a16:creationId xmlns:a16="http://schemas.microsoft.com/office/drawing/2014/main" id="{220C6857-FF7B-1AFC-6676-9C1C5293025E}"/>
              </a:ext>
            </a:extLst>
          </p:cNvPr>
          <p:cNvCxnSpPr>
            <a:cxnSpLocks/>
            <a:stCxn id="2" idx="1"/>
            <a:endCxn id="5" idx="1"/>
          </p:cNvCxnSpPr>
          <p:nvPr/>
        </p:nvCxnSpPr>
        <p:spPr>
          <a:xfrm rot="10800000" flipV="1">
            <a:off x="2841375" y="2830138"/>
            <a:ext cx="12700" cy="1725614"/>
          </a:xfrm>
          <a:prstGeom prst="bentConnector3">
            <a:avLst>
              <a:gd name="adj1" fmla="val 5210528"/>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Title 2">
            <a:extLst>
              <a:ext uri="{FF2B5EF4-FFF2-40B4-BE49-F238E27FC236}">
                <a16:creationId xmlns:a16="http://schemas.microsoft.com/office/drawing/2014/main" id="{92E7E783-837F-2E1B-676F-2A07FB79C91A}"/>
              </a:ext>
            </a:extLst>
          </p:cNvPr>
          <p:cNvSpPr txBox="1">
            <a:spLocks/>
          </p:cNvSpPr>
          <p:nvPr/>
        </p:nvSpPr>
        <p:spPr>
          <a:xfrm>
            <a:off x="1678324" y="3499046"/>
            <a:ext cx="1068506" cy="193899"/>
          </a:xfrm>
          <a:prstGeom prst="rect">
            <a:avLst/>
          </a:prstGeom>
          <a:solidFill>
            <a:srgbClr val="FFFFFF"/>
          </a:solid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1400" i="1" dirty="0">
                <a:solidFill>
                  <a:srgbClr val="575757"/>
                </a:solidFill>
              </a:rPr>
              <a:t>Quantization</a:t>
            </a:r>
          </a:p>
        </p:txBody>
      </p:sp>
      <p:cxnSp>
        <p:nvCxnSpPr>
          <p:cNvPr id="22" name="Straight Arrow Connector 21">
            <a:extLst>
              <a:ext uri="{FF2B5EF4-FFF2-40B4-BE49-F238E27FC236}">
                <a16:creationId xmlns:a16="http://schemas.microsoft.com/office/drawing/2014/main" id="{1D1F38E7-6BA6-0850-0524-01BF2B2EA289}"/>
              </a:ext>
            </a:extLst>
          </p:cNvPr>
          <p:cNvCxnSpPr/>
          <p:nvPr/>
        </p:nvCxnSpPr>
        <p:spPr>
          <a:xfrm>
            <a:off x="2854075" y="3102429"/>
            <a:ext cx="482396"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2CEC92E-3978-C571-C9CE-F299CAC1947E}"/>
              </a:ext>
            </a:extLst>
          </p:cNvPr>
          <p:cNvCxnSpPr/>
          <p:nvPr/>
        </p:nvCxnSpPr>
        <p:spPr>
          <a:xfrm>
            <a:off x="2854075" y="4833258"/>
            <a:ext cx="482396"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36DDA35-FD9C-CFBA-9244-08637D2254B6}"/>
              </a:ext>
            </a:extLst>
          </p:cNvPr>
          <p:cNvCxnSpPr>
            <a:cxnSpLocks/>
          </p:cNvCxnSpPr>
          <p:nvPr/>
        </p:nvCxnSpPr>
        <p:spPr>
          <a:xfrm>
            <a:off x="3354817" y="3102429"/>
            <a:ext cx="2433662"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934E7B9-1010-AE15-FB26-F237F8070C1B}"/>
              </a:ext>
            </a:extLst>
          </p:cNvPr>
          <p:cNvCxnSpPr>
            <a:cxnSpLocks/>
          </p:cNvCxnSpPr>
          <p:nvPr/>
        </p:nvCxnSpPr>
        <p:spPr>
          <a:xfrm>
            <a:off x="5807529" y="3102429"/>
            <a:ext cx="4875846"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8E7C704-9362-86C4-27D4-BAE0E4B5189C}"/>
              </a:ext>
            </a:extLst>
          </p:cNvPr>
          <p:cNvCxnSpPr>
            <a:cxnSpLocks/>
          </p:cNvCxnSpPr>
          <p:nvPr/>
        </p:nvCxnSpPr>
        <p:spPr>
          <a:xfrm>
            <a:off x="3376589" y="4833258"/>
            <a:ext cx="3385786"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34" name="Table 33">
            <a:extLst>
              <a:ext uri="{FF2B5EF4-FFF2-40B4-BE49-F238E27FC236}">
                <a16:creationId xmlns:a16="http://schemas.microsoft.com/office/drawing/2014/main" id="{697A9F1F-8C18-D735-D314-6C833F13832E}"/>
              </a:ext>
            </a:extLst>
          </p:cNvPr>
          <p:cNvGraphicFramePr>
            <a:graphicFrameLocks noGrp="1"/>
          </p:cNvGraphicFramePr>
          <p:nvPr>
            <p:extLst>
              <p:ext uri="{D42A27DB-BD31-4B8C-83A1-F6EECF244321}">
                <p14:modId xmlns:p14="http://schemas.microsoft.com/office/powerpoint/2010/main" val="1412144156"/>
              </p:ext>
            </p:extLst>
          </p:nvPr>
        </p:nvGraphicFramePr>
        <p:xfrm>
          <a:off x="2841374" y="5725106"/>
          <a:ext cx="490125" cy="370840"/>
        </p:xfrm>
        <a:graphic>
          <a:graphicData uri="http://schemas.openxmlformats.org/drawingml/2006/table">
            <a:tbl>
              <a:tblPr firstRow="1" bandRow="1">
                <a:tableStyleId>{5C22544A-7EE6-4342-B048-85BDC9FD1C3A}</a:tableStyleId>
              </a:tblPr>
              <a:tblGrid>
                <a:gridCol w="490125">
                  <a:extLst>
                    <a:ext uri="{9D8B030D-6E8A-4147-A177-3AD203B41FA5}">
                      <a16:colId xmlns:a16="http://schemas.microsoft.com/office/drawing/2014/main" val="2695143054"/>
                    </a:ext>
                  </a:extLst>
                </a:gridCol>
              </a:tblGrid>
              <a:tr h="370840">
                <a:tc>
                  <a:txBody>
                    <a:bodyPr/>
                    <a:lstStyle/>
                    <a:p>
                      <a:pPr algn="ctr"/>
                      <a:r>
                        <a:rPr lang="en-US" dirty="0"/>
                        <a:t>S</a:t>
                      </a:r>
                    </a:p>
                  </a:txBody>
                  <a:tcPr>
                    <a:solidFill>
                      <a:srgbClr val="3EAD92"/>
                    </a:solidFill>
                  </a:tcPr>
                </a:tc>
                <a:extLst>
                  <a:ext uri="{0D108BD9-81ED-4DB2-BD59-A6C34878D82A}">
                    <a16:rowId xmlns:a16="http://schemas.microsoft.com/office/drawing/2014/main" val="1260854820"/>
                  </a:ext>
                </a:extLst>
              </a:tr>
            </a:tbl>
          </a:graphicData>
        </a:graphic>
      </p:graphicFrame>
      <p:graphicFrame>
        <p:nvGraphicFramePr>
          <p:cNvPr id="35" name="Table 34">
            <a:extLst>
              <a:ext uri="{FF2B5EF4-FFF2-40B4-BE49-F238E27FC236}">
                <a16:creationId xmlns:a16="http://schemas.microsoft.com/office/drawing/2014/main" id="{2C7B807F-DCA6-9E7C-08A4-E83997D9F250}"/>
              </a:ext>
            </a:extLst>
          </p:cNvPr>
          <p:cNvGraphicFramePr>
            <a:graphicFrameLocks noGrp="1"/>
          </p:cNvGraphicFramePr>
          <p:nvPr>
            <p:extLst>
              <p:ext uri="{D42A27DB-BD31-4B8C-83A1-F6EECF244321}">
                <p14:modId xmlns:p14="http://schemas.microsoft.com/office/powerpoint/2010/main" val="401757175"/>
              </p:ext>
            </p:extLst>
          </p:nvPr>
        </p:nvGraphicFramePr>
        <p:xfrm>
          <a:off x="4719160" y="5725106"/>
          <a:ext cx="490125" cy="370840"/>
        </p:xfrm>
        <a:graphic>
          <a:graphicData uri="http://schemas.openxmlformats.org/drawingml/2006/table">
            <a:tbl>
              <a:tblPr firstRow="1" bandRow="1">
                <a:tableStyleId>{5C22544A-7EE6-4342-B048-85BDC9FD1C3A}</a:tableStyleId>
              </a:tblPr>
              <a:tblGrid>
                <a:gridCol w="490125">
                  <a:extLst>
                    <a:ext uri="{9D8B030D-6E8A-4147-A177-3AD203B41FA5}">
                      <a16:colId xmlns:a16="http://schemas.microsoft.com/office/drawing/2014/main" val="2695143054"/>
                    </a:ext>
                  </a:extLst>
                </a:gridCol>
              </a:tblGrid>
              <a:tr h="370840">
                <a:tc>
                  <a:txBody>
                    <a:bodyPr/>
                    <a:lstStyle/>
                    <a:p>
                      <a:pPr algn="ctr"/>
                      <a:r>
                        <a:rPr lang="en-US" dirty="0"/>
                        <a:t>E</a:t>
                      </a:r>
                    </a:p>
                  </a:txBody>
                  <a:tcPr>
                    <a:solidFill>
                      <a:srgbClr val="A8B21C"/>
                    </a:solidFill>
                  </a:tcPr>
                </a:tc>
                <a:extLst>
                  <a:ext uri="{0D108BD9-81ED-4DB2-BD59-A6C34878D82A}">
                    <a16:rowId xmlns:a16="http://schemas.microsoft.com/office/drawing/2014/main" val="1260854820"/>
                  </a:ext>
                </a:extLst>
              </a:tr>
            </a:tbl>
          </a:graphicData>
        </a:graphic>
      </p:graphicFrame>
      <p:graphicFrame>
        <p:nvGraphicFramePr>
          <p:cNvPr id="36" name="Table 35">
            <a:extLst>
              <a:ext uri="{FF2B5EF4-FFF2-40B4-BE49-F238E27FC236}">
                <a16:creationId xmlns:a16="http://schemas.microsoft.com/office/drawing/2014/main" id="{7673B0D3-E02B-ACBD-2402-5236C9FF051C}"/>
              </a:ext>
            </a:extLst>
          </p:cNvPr>
          <p:cNvGraphicFramePr>
            <a:graphicFrameLocks noGrp="1"/>
          </p:cNvGraphicFramePr>
          <p:nvPr>
            <p:extLst>
              <p:ext uri="{D42A27DB-BD31-4B8C-83A1-F6EECF244321}">
                <p14:modId xmlns:p14="http://schemas.microsoft.com/office/powerpoint/2010/main" val="797909693"/>
              </p:ext>
            </p:extLst>
          </p:nvPr>
        </p:nvGraphicFramePr>
        <p:xfrm>
          <a:off x="6596946" y="5725106"/>
          <a:ext cx="490125" cy="370840"/>
        </p:xfrm>
        <a:graphic>
          <a:graphicData uri="http://schemas.openxmlformats.org/drawingml/2006/table">
            <a:tbl>
              <a:tblPr firstRow="1" bandRow="1">
                <a:tableStyleId>{5C22544A-7EE6-4342-B048-85BDC9FD1C3A}</a:tableStyleId>
              </a:tblPr>
              <a:tblGrid>
                <a:gridCol w="490125">
                  <a:extLst>
                    <a:ext uri="{9D8B030D-6E8A-4147-A177-3AD203B41FA5}">
                      <a16:colId xmlns:a16="http://schemas.microsoft.com/office/drawing/2014/main" val="2695143054"/>
                    </a:ext>
                  </a:extLst>
                </a:gridCol>
              </a:tblGrid>
              <a:tr h="370840">
                <a:tc>
                  <a:txBody>
                    <a:bodyPr/>
                    <a:lstStyle/>
                    <a:p>
                      <a:pPr algn="ctr"/>
                      <a:r>
                        <a:rPr lang="en-US" dirty="0"/>
                        <a:t>M</a:t>
                      </a:r>
                    </a:p>
                  </a:txBody>
                  <a:tcPr>
                    <a:solidFill>
                      <a:srgbClr val="197A56"/>
                    </a:solidFill>
                  </a:tcPr>
                </a:tc>
                <a:extLst>
                  <a:ext uri="{0D108BD9-81ED-4DB2-BD59-A6C34878D82A}">
                    <a16:rowId xmlns:a16="http://schemas.microsoft.com/office/drawing/2014/main" val="1260854820"/>
                  </a:ext>
                </a:extLst>
              </a:tr>
            </a:tbl>
          </a:graphicData>
        </a:graphic>
      </p:graphicFrame>
      <p:sp>
        <p:nvSpPr>
          <p:cNvPr id="38" name="TextBox 37">
            <a:extLst>
              <a:ext uri="{FF2B5EF4-FFF2-40B4-BE49-F238E27FC236}">
                <a16:creationId xmlns:a16="http://schemas.microsoft.com/office/drawing/2014/main" id="{2571A7F9-103B-597D-ECE5-5AB3B4AE697E}"/>
              </a:ext>
            </a:extLst>
          </p:cNvPr>
          <p:cNvSpPr txBox="1"/>
          <p:nvPr/>
        </p:nvSpPr>
        <p:spPr>
          <a:xfrm>
            <a:off x="2845238" y="3132552"/>
            <a:ext cx="48239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1 bit</a:t>
            </a:r>
            <a:endParaRPr lang="en-US" sz="1100" dirty="0"/>
          </a:p>
        </p:txBody>
      </p:sp>
      <p:sp>
        <p:nvSpPr>
          <p:cNvPr id="39" name="TextBox 38">
            <a:extLst>
              <a:ext uri="{FF2B5EF4-FFF2-40B4-BE49-F238E27FC236}">
                <a16:creationId xmlns:a16="http://schemas.microsoft.com/office/drawing/2014/main" id="{7FCACE7B-87F3-ED5F-823E-73A5A7A69C27}"/>
              </a:ext>
            </a:extLst>
          </p:cNvPr>
          <p:cNvSpPr txBox="1"/>
          <p:nvPr/>
        </p:nvSpPr>
        <p:spPr>
          <a:xfrm>
            <a:off x="4234708" y="3132552"/>
            <a:ext cx="48239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5 bit</a:t>
            </a:r>
            <a:endParaRPr lang="en-US" sz="1100" dirty="0"/>
          </a:p>
        </p:txBody>
      </p:sp>
      <p:sp>
        <p:nvSpPr>
          <p:cNvPr id="40" name="TextBox 39">
            <a:extLst>
              <a:ext uri="{FF2B5EF4-FFF2-40B4-BE49-F238E27FC236}">
                <a16:creationId xmlns:a16="http://schemas.microsoft.com/office/drawing/2014/main" id="{3330E308-8F60-E6D5-75EE-BD27859DAEB7}"/>
              </a:ext>
            </a:extLst>
          </p:cNvPr>
          <p:cNvSpPr txBox="1"/>
          <p:nvPr/>
        </p:nvSpPr>
        <p:spPr>
          <a:xfrm>
            <a:off x="7904179" y="3132552"/>
            <a:ext cx="68254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10 bits</a:t>
            </a:r>
            <a:endParaRPr lang="en-US" sz="1100" dirty="0"/>
          </a:p>
        </p:txBody>
      </p:sp>
      <p:sp>
        <p:nvSpPr>
          <p:cNvPr id="41" name="TextBox 40">
            <a:extLst>
              <a:ext uri="{FF2B5EF4-FFF2-40B4-BE49-F238E27FC236}">
                <a16:creationId xmlns:a16="http://schemas.microsoft.com/office/drawing/2014/main" id="{B31091EE-61BD-2EA9-D464-77454F5B459C}"/>
              </a:ext>
            </a:extLst>
          </p:cNvPr>
          <p:cNvSpPr txBox="1"/>
          <p:nvPr/>
        </p:nvSpPr>
        <p:spPr>
          <a:xfrm>
            <a:off x="2845238" y="4883918"/>
            <a:ext cx="48239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1 bit</a:t>
            </a:r>
            <a:endParaRPr lang="en-US" sz="1100" dirty="0"/>
          </a:p>
        </p:txBody>
      </p:sp>
      <p:sp>
        <p:nvSpPr>
          <p:cNvPr id="42" name="TextBox 41">
            <a:extLst>
              <a:ext uri="{FF2B5EF4-FFF2-40B4-BE49-F238E27FC236}">
                <a16:creationId xmlns:a16="http://schemas.microsoft.com/office/drawing/2014/main" id="{7E162711-6B51-DDC7-20EC-559DD0CFFE63}"/>
              </a:ext>
            </a:extLst>
          </p:cNvPr>
          <p:cNvSpPr txBox="1"/>
          <p:nvPr/>
        </p:nvSpPr>
        <p:spPr>
          <a:xfrm>
            <a:off x="4515715" y="4883918"/>
            <a:ext cx="648608"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7 bits</a:t>
            </a:r>
            <a:endParaRPr lang="en-US" sz="1100" dirty="0"/>
          </a:p>
        </p:txBody>
      </p:sp>
      <p:sp>
        <p:nvSpPr>
          <p:cNvPr id="46" name="TextBox 45">
            <a:extLst>
              <a:ext uri="{FF2B5EF4-FFF2-40B4-BE49-F238E27FC236}">
                <a16:creationId xmlns:a16="http://schemas.microsoft.com/office/drawing/2014/main" id="{AA241134-DCC8-28CE-A8F5-08F34311B224}"/>
              </a:ext>
            </a:extLst>
          </p:cNvPr>
          <p:cNvSpPr txBox="1"/>
          <p:nvPr/>
        </p:nvSpPr>
        <p:spPr>
          <a:xfrm>
            <a:off x="3327634" y="5779721"/>
            <a:ext cx="48239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Sign</a:t>
            </a:r>
            <a:endParaRPr lang="en-US" sz="1100" dirty="0"/>
          </a:p>
        </p:txBody>
      </p:sp>
      <p:sp>
        <p:nvSpPr>
          <p:cNvPr id="47" name="TextBox 46">
            <a:extLst>
              <a:ext uri="{FF2B5EF4-FFF2-40B4-BE49-F238E27FC236}">
                <a16:creationId xmlns:a16="http://schemas.microsoft.com/office/drawing/2014/main" id="{13050B4C-97A7-951D-DD96-C7DE1DF72E79}"/>
              </a:ext>
            </a:extLst>
          </p:cNvPr>
          <p:cNvSpPr txBox="1"/>
          <p:nvPr/>
        </p:nvSpPr>
        <p:spPr>
          <a:xfrm>
            <a:off x="5209285" y="5779721"/>
            <a:ext cx="81051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Exponent</a:t>
            </a:r>
            <a:endParaRPr lang="en-US" sz="1100" dirty="0"/>
          </a:p>
        </p:txBody>
      </p:sp>
      <p:sp>
        <p:nvSpPr>
          <p:cNvPr id="48" name="TextBox 47">
            <a:extLst>
              <a:ext uri="{FF2B5EF4-FFF2-40B4-BE49-F238E27FC236}">
                <a16:creationId xmlns:a16="http://schemas.microsoft.com/office/drawing/2014/main" id="{9E6F4C96-0A50-0546-0B9F-93684E537F50}"/>
              </a:ext>
            </a:extLst>
          </p:cNvPr>
          <p:cNvSpPr txBox="1"/>
          <p:nvPr/>
        </p:nvSpPr>
        <p:spPr>
          <a:xfrm>
            <a:off x="7087071" y="5779721"/>
            <a:ext cx="810515"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rgbClr val="575757"/>
                </a:solidFill>
              </a:rPr>
              <a:t>Mantissa</a:t>
            </a:r>
            <a:endParaRPr lang="en-US" sz="1100" dirty="0"/>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9639BC-D181-8BD1-3FEE-B0655F31FB33}"/>
              </a:ext>
            </a:extLst>
          </p:cNvPr>
          <p:cNvGraphicFramePr>
            <a:graphicFrameLocks noChangeAspect="1"/>
          </p:cNvGraphicFramePr>
          <p:nvPr>
            <p:custDataLst>
              <p:tags r:id="rId1"/>
            </p:custDataLst>
            <p:extLst>
              <p:ext uri="{D42A27DB-BD31-4B8C-83A1-F6EECF244321}">
                <p14:modId xmlns:p14="http://schemas.microsoft.com/office/powerpoint/2010/main" val="2558516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34" imgH="234" progId="TCLayout.ActiveDocument.1">
                  <p:embed/>
                </p:oleObj>
              </mc:Choice>
              <mc:Fallback>
                <p:oleObj name="think-cell Slide" r:id="rId3" imgW="234" imgH="234" progId="TCLayout.ActiveDocument.1">
                  <p:embed/>
                  <p:pic>
                    <p:nvPicPr>
                      <p:cNvPr id="3" name="think-cell data - do not delete" hidden="1">
                        <a:extLst>
                          <a:ext uri="{FF2B5EF4-FFF2-40B4-BE49-F238E27FC236}">
                            <a16:creationId xmlns:a16="http://schemas.microsoft.com/office/drawing/2014/main" id="{2D9639BC-D181-8BD1-3FEE-B0655F31FB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5387CD83-7A64-F42F-00D9-51D9FBD5F0D3}"/>
              </a:ext>
            </a:extLst>
          </p:cNvPr>
          <p:cNvGrpSpPr/>
          <p:nvPr/>
        </p:nvGrpSpPr>
        <p:grpSpPr>
          <a:xfrm>
            <a:off x="1584051" y="4392211"/>
            <a:ext cx="1440542" cy="1789793"/>
            <a:chOff x="4693558" y="4533898"/>
            <a:chExt cx="1440542" cy="1789793"/>
          </a:xfrm>
        </p:grpSpPr>
        <p:sp>
          <p:nvSpPr>
            <p:cNvPr id="13" name="Rectangle 12">
              <a:extLst>
                <a:ext uri="{FF2B5EF4-FFF2-40B4-BE49-F238E27FC236}">
                  <a16:creationId xmlns:a16="http://schemas.microsoft.com/office/drawing/2014/main" id="{D34BDAB4-C112-7DA3-1BAA-BA2B8BB56259}"/>
                </a:ext>
              </a:extLst>
            </p:cNvPr>
            <p:cNvSpPr/>
            <p:nvPr/>
          </p:nvSpPr>
          <p:spPr>
            <a:xfrm>
              <a:off x="4693558" y="4533898"/>
              <a:ext cx="1440542" cy="1789793"/>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Chunks of data</a:t>
              </a:r>
            </a:p>
          </p:txBody>
        </p:sp>
        <p:sp>
          <p:nvSpPr>
            <p:cNvPr id="14" name="Rectangle 13">
              <a:extLst>
                <a:ext uri="{FF2B5EF4-FFF2-40B4-BE49-F238E27FC236}">
                  <a16:creationId xmlns:a16="http://schemas.microsoft.com/office/drawing/2014/main" id="{BA264786-0686-E4F1-BE8C-B7200A87D978}"/>
                </a:ext>
              </a:extLst>
            </p:cNvPr>
            <p:cNvSpPr/>
            <p:nvPr/>
          </p:nvSpPr>
          <p:spPr>
            <a:xfrm>
              <a:off x="4795131" y="4860471"/>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sp>
          <p:nvSpPr>
            <p:cNvPr id="15" name="Rectangle 14">
              <a:extLst>
                <a:ext uri="{FF2B5EF4-FFF2-40B4-BE49-F238E27FC236}">
                  <a16:creationId xmlns:a16="http://schemas.microsoft.com/office/drawing/2014/main" id="{AD427996-39EE-FFE4-F13E-B01A18ECC114}"/>
                </a:ext>
              </a:extLst>
            </p:cNvPr>
            <p:cNvSpPr/>
            <p:nvPr/>
          </p:nvSpPr>
          <p:spPr>
            <a:xfrm>
              <a:off x="5478223" y="4860471"/>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sp>
          <p:nvSpPr>
            <p:cNvPr id="16" name="Rectangle 15">
              <a:extLst>
                <a:ext uri="{FF2B5EF4-FFF2-40B4-BE49-F238E27FC236}">
                  <a16:creationId xmlns:a16="http://schemas.microsoft.com/office/drawing/2014/main" id="{250830B8-D650-9792-5258-B3DEFAF5561F}"/>
                </a:ext>
              </a:extLst>
            </p:cNvPr>
            <p:cNvSpPr/>
            <p:nvPr/>
          </p:nvSpPr>
          <p:spPr>
            <a:xfrm>
              <a:off x="4795131" y="5339895"/>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sp>
          <p:nvSpPr>
            <p:cNvPr id="17" name="Rectangle 16">
              <a:extLst>
                <a:ext uri="{FF2B5EF4-FFF2-40B4-BE49-F238E27FC236}">
                  <a16:creationId xmlns:a16="http://schemas.microsoft.com/office/drawing/2014/main" id="{5B2243FB-26E6-C9E8-7180-87CBFF6AC191}"/>
                </a:ext>
              </a:extLst>
            </p:cNvPr>
            <p:cNvSpPr/>
            <p:nvPr/>
          </p:nvSpPr>
          <p:spPr>
            <a:xfrm>
              <a:off x="5478223" y="5339895"/>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sp>
          <p:nvSpPr>
            <p:cNvPr id="18" name="Rectangle 17">
              <a:extLst>
                <a:ext uri="{FF2B5EF4-FFF2-40B4-BE49-F238E27FC236}">
                  <a16:creationId xmlns:a16="http://schemas.microsoft.com/office/drawing/2014/main" id="{B0D72563-FF8C-29D3-F887-E2258CEF2A97}"/>
                </a:ext>
              </a:extLst>
            </p:cNvPr>
            <p:cNvSpPr/>
            <p:nvPr/>
          </p:nvSpPr>
          <p:spPr>
            <a:xfrm>
              <a:off x="4795130" y="5819319"/>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sp>
          <p:nvSpPr>
            <p:cNvPr id="19" name="Rectangle 18">
              <a:extLst>
                <a:ext uri="{FF2B5EF4-FFF2-40B4-BE49-F238E27FC236}">
                  <a16:creationId xmlns:a16="http://schemas.microsoft.com/office/drawing/2014/main" id="{76FCA87A-8426-BA2B-1900-61D56143FCCF}"/>
                </a:ext>
              </a:extLst>
            </p:cNvPr>
            <p:cNvSpPr/>
            <p:nvPr/>
          </p:nvSpPr>
          <p:spPr>
            <a:xfrm>
              <a:off x="5478222" y="5819319"/>
              <a:ext cx="555199" cy="423636"/>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Chunk</a:t>
              </a:r>
            </a:p>
          </p:txBody>
        </p:sp>
      </p:grpSp>
      <p:grpSp>
        <p:nvGrpSpPr>
          <p:cNvPr id="37" name="Group 36">
            <a:extLst>
              <a:ext uri="{FF2B5EF4-FFF2-40B4-BE49-F238E27FC236}">
                <a16:creationId xmlns:a16="http://schemas.microsoft.com/office/drawing/2014/main" id="{DA870ECF-6910-D6AC-DAA3-17239AA53E96}"/>
              </a:ext>
            </a:extLst>
          </p:cNvPr>
          <p:cNvGrpSpPr/>
          <p:nvPr/>
        </p:nvGrpSpPr>
        <p:grpSpPr>
          <a:xfrm>
            <a:off x="5426817" y="4392211"/>
            <a:ext cx="1364044" cy="1789793"/>
            <a:chOff x="7660039" y="4533897"/>
            <a:chExt cx="1364044" cy="1789793"/>
          </a:xfrm>
        </p:grpSpPr>
        <p:sp>
          <p:nvSpPr>
            <p:cNvPr id="25" name="Rectangle 24">
              <a:extLst>
                <a:ext uri="{FF2B5EF4-FFF2-40B4-BE49-F238E27FC236}">
                  <a16:creationId xmlns:a16="http://schemas.microsoft.com/office/drawing/2014/main" id="{E1B0CA29-DB62-9D18-9ECD-B5AAC297C73B}"/>
                </a:ext>
              </a:extLst>
            </p:cNvPr>
            <p:cNvSpPr/>
            <p:nvPr/>
          </p:nvSpPr>
          <p:spPr>
            <a:xfrm>
              <a:off x="7660039" y="4533897"/>
              <a:ext cx="1364044" cy="1789793"/>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Data Vector Embeddings</a:t>
              </a:r>
              <a:endParaRPr lang="en-US" sz="1200" dirty="0">
                <a:solidFill>
                  <a:schemeClr val="tx1"/>
                </a:solidFill>
              </a:endParaRPr>
            </a:p>
          </p:txBody>
        </p:sp>
        <p:sp>
          <p:nvSpPr>
            <p:cNvPr id="26" name="Rectangle 25">
              <a:extLst>
                <a:ext uri="{FF2B5EF4-FFF2-40B4-BE49-F238E27FC236}">
                  <a16:creationId xmlns:a16="http://schemas.microsoft.com/office/drawing/2014/main" id="{DEF2E6C9-0B35-AFD6-35F0-DF1CA749156E}"/>
                </a:ext>
              </a:extLst>
            </p:cNvPr>
            <p:cNvSpPr/>
            <p:nvPr/>
          </p:nvSpPr>
          <p:spPr>
            <a:xfrm>
              <a:off x="7991431" y="4996989"/>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tx1"/>
                  </a:solidFill>
                </a:rPr>
                <a:t>-</a:t>
              </a:r>
              <a:r>
                <a:rPr lang="en-US" sz="1050" dirty="0">
                  <a:solidFill>
                    <a:schemeClr val="tx1"/>
                  </a:solidFill>
                </a:rPr>
                <a:t>0.011</a:t>
              </a:r>
            </a:p>
          </p:txBody>
        </p:sp>
        <p:sp>
          <p:nvSpPr>
            <p:cNvPr id="27" name="Rectangle 26">
              <a:extLst>
                <a:ext uri="{FF2B5EF4-FFF2-40B4-BE49-F238E27FC236}">
                  <a16:creationId xmlns:a16="http://schemas.microsoft.com/office/drawing/2014/main" id="{5D8E99DF-AA10-C0A7-C501-47B2B94B69CA}"/>
                </a:ext>
              </a:extLst>
            </p:cNvPr>
            <p:cNvSpPr/>
            <p:nvPr/>
          </p:nvSpPr>
          <p:spPr>
            <a:xfrm>
              <a:off x="7991431" y="5251448"/>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chemeClr val="tx1"/>
                  </a:solidFill>
                </a:rPr>
                <a:t>-</a:t>
              </a:r>
              <a:r>
                <a:rPr lang="en-US" sz="1050" dirty="0">
                  <a:solidFill>
                    <a:schemeClr val="tx1"/>
                  </a:solidFill>
                </a:rPr>
                <a:t>0.024</a:t>
              </a:r>
            </a:p>
          </p:txBody>
        </p:sp>
        <p:sp>
          <p:nvSpPr>
            <p:cNvPr id="28" name="Rectangle 27">
              <a:extLst>
                <a:ext uri="{FF2B5EF4-FFF2-40B4-BE49-F238E27FC236}">
                  <a16:creationId xmlns:a16="http://schemas.microsoft.com/office/drawing/2014/main" id="{028E60EA-9D53-C4C0-F49F-0B3EF4CE6E4E}"/>
                </a:ext>
              </a:extLst>
            </p:cNvPr>
            <p:cNvSpPr/>
            <p:nvPr/>
          </p:nvSpPr>
          <p:spPr>
            <a:xfrm>
              <a:off x="7991431" y="5496832"/>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36</a:t>
              </a:r>
            </a:p>
          </p:txBody>
        </p:sp>
        <p:sp>
          <p:nvSpPr>
            <p:cNvPr id="29" name="Rectangle 28">
              <a:extLst>
                <a:ext uri="{FF2B5EF4-FFF2-40B4-BE49-F238E27FC236}">
                  <a16:creationId xmlns:a16="http://schemas.microsoft.com/office/drawing/2014/main" id="{7D2AE185-09AD-44ED-BABF-44939D8123C1}"/>
                </a:ext>
              </a:extLst>
            </p:cNvPr>
            <p:cNvSpPr/>
            <p:nvPr/>
          </p:nvSpPr>
          <p:spPr>
            <a:xfrm>
              <a:off x="7991431" y="5744937"/>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a:t>
              </a:r>
            </a:p>
          </p:txBody>
        </p:sp>
        <p:sp>
          <p:nvSpPr>
            <p:cNvPr id="30" name="Rectangle 29">
              <a:extLst>
                <a:ext uri="{FF2B5EF4-FFF2-40B4-BE49-F238E27FC236}">
                  <a16:creationId xmlns:a16="http://schemas.microsoft.com/office/drawing/2014/main" id="{163582D8-D8DB-60B5-8585-BE4009FE1AF3}"/>
                </a:ext>
              </a:extLst>
            </p:cNvPr>
            <p:cNvSpPr/>
            <p:nvPr/>
          </p:nvSpPr>
          <p:spPr>
            <a:xfrm>
              <a:off x="7991431" y="5996675"/>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13</a:t>
              </a:r>
            </a:p>
          </p:txBody>
        </p:sp>
      </p:grpSp>
      <p:grpSp>
        <p:nvGrpSpPr>
          <p:cNvPr id="36" name="Group 35">
            <a:extLst>
              <a:ext uri="{FF2B5EF4-FFF2-40B4-BE49-F238E27FC236}">
                <a16:creationId xmlns:a16="http://schemas.microsoft.com/office/drawing/2014/main" id="{A15F54CA-5A65-8F40-E806-9EED06CF00F8}"/>
              </a:ext>
            </a:extLst>
          </p:cNvPr>
          <p:cNvGrpSpPr/>
          <p:nvPr/>
        </p:nvGrpSpPr>
        <p:grpSpPr>
          <a:xfrm>
            <a:off x="3576310" y="1601461"/>
            <a:ext cx="1364045" cy="1789793"/>
            <a:chOff x="6014655" y="2443158"/>
            <a:chExt cx="1364045" cy="1631727"/>
          </a:xfrm>
        </p:grpSpPr>
        <p:sp>
          <p:nvSpPr>
            <p:cNvPr id="31" name="Rectangle 30">
              <a:extLst>
                <a:ext uri="{FF2B5EF4-FFF2-40B4-BE49-F238E27FC236}">
                  <a16:creationId xmlns:a16="http://schemas.microsoft.com/office/drawing/2014/main" id="{EF54364A-6E28-2712-4743-D5724A37C70F}"/>
                </a:ext>
              </a:extLst>
            </p:cNvPr>
            <p:cNvSpPr/>
            <p:nvPr/>
          </p:nvSpPr>
          <p:spPr>
            <a:xfrm>
              <a:off x="6014656" y="2443158"/>
              <a:ext cx="1364044" cy="1631727"/>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Embeddings Model</a:t>
              </a:r>
            </a:p>
          </p:txBody>
        </p:sp>
        <p:pic>
          <p:nvPicPr>
            <p:cNvPr id="33" name="Picture 32">
              <a:extLst>
                <a:ext uri="{FF2B5EF4-FFF2-40B4-BE49-F238E27FC236}">
                  <a16:creationId xmlns:a16="http://schemas.microsoft.com/office/drawing/2014/main" id="{CDC4496F-18A6-19F5-00EF-2C648400C225}"/>
                </a:ext>
              </a:extLst>
            </p:cNvPr>
            <p:cNvPicPr>
              <a:picLocks noChangeAspect="1"/>
            </p:cNvPicPr>
            <p:nvPr/>
          </p:nvPicPr>
          <p:blipFill>
            <a:blip r:embed="rId5"/>
            <a:stretch>
              <a:fillRect/>
            </a:stretch>
          </p:blipFill>
          <p:spPr>
            <a:xfrm>
              <a:off x="6116269" y="2949748"/>
              <a:ext cx="1160819" cy="762958"/>
            </a:xfrm>
            <a:prstGeom prst="rect">
              <a:avLst/>
            </a:prstGeom>
          </p:spPr>
        </p:pic>
        <p:sp>
          <p:nvSpPr>
            <p:cNvPr id="35" name="TextBox 34">
              <a:extLst>
                <a:ext uri="{FF2B5EF4-FFF2-40B4-BE49-F238E27FC236}">
                  <a16:creationId xmlns:a16="http://schemas.microsoft.com/office/drawing/2014/main" id="{1F4A3DD1-CC21-38C5-C526-8C4E6B357217}"/>
                </a:ext>
              </a:extLst>
            </p:cNvPr>
            <p:cNvSpPr txBox="1"/>
            <p:nvPr/>
          </p:nvSpPr>
          <p:spPr>
            <a:xfrm>
              <a:off x="6014655" y="3763640"/>
              <a:ext cx="1364045"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200" i="1" dirty="0">
                  <a:solidFill>
                    <a:schemeClr val="tx1"/>
                  </a:solidFill>
                </a:rPr>
                <a:t>all-MiniLM-L6-v2</a:t>
              </a:r>
              <a:endParaRPr lang="en-US" sz="1200" i="1" dirty="0"/>
            </a:p>
          </p:txBody>
        </p:sp>
      </p:grpSp>
      <p:grpSp>
        <p:nvGrpSpPr>
          <p:cNvPr id="52" name="Group 51">
            <a:extLst>
              <a:ext uri="{FF2B5EF4-FFF2-40B4-BE49-F238E27FC236}">
                <a16:creationId xmlns:a16="http://schemas.microsoft.com/office/drawing/2014/main" id="{8549C065-A3DD-CEB3-284A-7CDA6C55F753}"/>
              </a:ext>
            </a:extLst>
          </p:cNvPr>
          <p:cNvGrpSpPr/>
          <p:nvPr/>
        </p:nvGrpSpPr>
        <p:grpSpPr>
          <a:xfrm>
            <a:off x="7912943" y="4392211"/>
            <a:ext cx="1364046" cy="1789793"/>
            <a:chOff x="9748994" y="4533897"/>
            <a:chExt cx="1364046" cy="1789793"/>
          </a:xfrm>
        </p:grpSpPr>
        <p:sp>
          <p:nvSpPr>
            <p:cNvPr id="41" name="Rectangle 40">
              <a:extLst>
                <a:ext uri="{FF2B5EF4-FFF2-40B4-BE49-F238E27FC236}">
                  <a16:creationId xmlns:a16="http://schemas.microsoft.com/office/drawing/2014/main" id="{53E689E6-3DCF-C546-B3DD-881483ECF5F3}"/>
                </a:ext>
              </a:extLst>
            </p:cNvPr>
            <p:cNvSpPr/>
            <p:nvPr/>
          </p:nvSpPr>
          <p:spPr>
            <a:xfrm>
              <a:off x="9748996" y="4533897"/>
              <a:ext cx="1364044" cy="1789793"/>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Vector Store</a:t>
              </a:r>
              <a:endParaRPr lang="en-US" sz="1200" dirty="0">
                <a:solidFill>
                  <a:schemeClr val="tx1"/>
                </a:solidFill>
              </a:endParaRPr>
            </a:p>
          </p:txBody>
        </p:sp>
        <p:pic>
          <p:nvPicPr>
            <p:cNvPr id="48" name="Picture 47">
              <a:extLst>
                <a:ext uri="{FF2B5EF4-FFF2-40B4-BE49-F238E27FC236}">
                  <a16:creationId xmlns:a16="http://schemas.microsoft.com/office/drawing/2014/main" id="{2D436E11-ABF4-2A35-0840-8CDF851D443A}"/>
                </a:ext>
              </a:extLst>
            </p:cNvPr>
            <p:cNvPicPr>
              <a:picLocks noChangeAspect="1"/>
            </p:cNvPicPr>
            <p:nvPr/>
          </p:nvPicPr>
          <p:blipFill>
            <a:blip r:embed="rId6"/>
            <a:stretch>
              <a:fillRect/>
            </a:stretch>
          </p:blipFill>
          <p:spPr>
            <a:xfrm>
              <a:off x="10179977" y="5536287"/>
              <a:ext cx="502080" cy="410032"/>
            </a:xfrm>
            <a:prstGeom prst="rect">
              <a:avLst/>
            </a:prstGeom>
          </p:spPr>
        </p:pic>
        <p:pic>
          <p:nvPicPr>
            <p:cNvPr id="50" name="Picture 49">
              <a:extLst>
                <a:ext uri="{FF2B5EF4-FFF2-40B4-BE49-F238E27FC236}">
                  <a16:creationId xmlns:a16="http://schemas.microsoft.com/office/drawing/2014/main" id="{BD7A45E2-DAF0-81AA-1D9F-948D2F9A1838}"/>
                </a:ext>
              </a:extLst>
            </p:cNvPr>
            <p:cNvPicPr>
              <a:picLocks noChangeAspect="1"/>
            </p:cNvPicPr>
            <p:nvPr/>
          </p:nvPicPr>
          <p:blipFill>
            <a:blip r:embed="rId7"/>
            <a:stretch>
              <a:fillRect/>
            </a:stretch>
          </p:blipFill>
          <p:spPr>
            <a:xfrm>
              <a:off x="10182267" y="4909907"/>
              <a:ext cx="497501" cy="586925"/>
            </a:xfrm>
            <a:prstGeom prst="rect">
              <a:avLst/>
            </a:prstGeom>
          </p:spPr>
        </p:pic>
        <p:sp>
          <p:nvSpPr>
            <p:cNvPr id="51" name="TextBox 50">
              <a:extLst>
                <a:ext uri="{FF2B5EF4-FFF2-40B4-BE49-F238E27FC236}">
                  <a16:creationId xmlns:a16="http://schemas.microsoft.com/office/drawing/2014/main" id="{FCC032C5-19D8-B438-FD6D-3D9377185236}"/>
                </a:ext>
              </a:extLst>
            </p:cNvPr>
            <p:cNvSpPr txBox="1"/>
            <p:nvPr/>
          </p:nvSpPr>
          <p:spPr>
            <a:xfrm>
              <a:off x="9748994" y="5939494"/>
              <a:ext cx="1364045"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200" i="1" dirty="0" err="1">
                  <a:solidFill>
                    <a:schemeClr val="tx1"/>
                  </a:solidFill>
                </a:rPr>
                <a:t>FAISS</a:t>
              </a:r>
              <a:endParaRPr lang="en-US" sz="1200" i="1" dirty="0"/>
            </a:p>
          </p:txBody>
        </p:sp>
      </p:grpSp>
      <p:sp>
        <p:nvSpPr>
          <p:cNvPr id="53" name="Rectangle: Rounded Corners 52">
            <a:extLst>
              <a:ext uri="{FF2B5EF4-FFF2-40B4-BE49-F238E27FC236}">
                <a16:creationId xmlns:a16="http://schemas.microsoft.com/office/drawing/2014/main" id="{FE986BA3-5FAA-DB53-36E1-1673B93E17A4}"/>
              </a:ext>
            </a:extLst>
          </p:cNvPr>
          <p:cNvSpPr/>
          <p:nvPr/>
        </p:nvSpPr>
        <p:spPr>
          <a:xfrm>
            <a:off x="3554540" y="290499"/>
            <a:ext cx="1410450" cy="734786"/>
          </a:xfrm>
          <a:prstGeom prst="roundRect">
            <a:avLst>
              <a:gd name="adj" fmla="val 0"/>
            </a:avLst>
          </a:prstGeom>
          <a:solidFill>
            <a:srgbClr val="FFFFFF"/>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User Query</a:t>
            </a:r>
            <a:endParaRPr lang="en-US" sz="1200" b="1" dirty="0">
              <a:solidFill>
                <a:srgbClr val="FFFFFF"/>
              </a:solidFill>
            </a:endParaRPr>
          </a:p>
        </p:txBody>
      </p:sp>
      <p:grpSp>
        <p:nvGrpSpPr>
          <p:cNvPr id="1040" name="Group 1039">
            <a:extLst>
              <a:ext uri="{FF2B5EF4-FFF2-40B4-BE49-F238E27FC236}">
                <a16:creationId xmlns:a16="http://schemas.microsoft.com/office/drawing/2014/main" id="{ADAA4554-8BFD-1AF8-8CA7-BF678EF17EDE}"/>
              </a:ext>
            </a:extLst>
          </p:cNvPr>
          <p:cNvGrpSpPr/>
          <p:nvPr/>
        </p:nvGrpSpPr>
        <p:grpSpPr>
          <a:xfrm>
            <a:off x="9923323" y="1644625"/>
            <a:ext cx="1364045" cy="1631727"/>
            <a:chOff x="8169085" y="1804768"/>
            <a:chExt cx="1364045" cy="1631727"/>
          </a:xfrm>
        </p:grpSpPr>
        <p:grpSp>
          <p:nvGrpSpPr>
            <p:cNvPr id="54" name="Group 53">
              <a:extLst>
                <a:ext uri="{FF2B5EF4-FFF2-40B4-BE49-F238E27FC236}">
                  <a16:creationId xmlns:a16="http://schemas.microsoft.com/office/drawing/2014/main" id="{D888E931-3E38-3C29-B1ED-33B4497394EC}"/>
                </a:ext>
              </a:extLst>
            </p:cNvPr>
            <p:cNvGrpSpPr/>
            <p:nvPr/>
          </p:nvGrpSpPr>
          <p:grpSpPr>
            <a:xfrm>
              <a:off x="8169085" y="1804768"/>
              <a:ext cx="1364045" cy="1631727"/>
              <a:chOff x="6014655" y="2443158"/>
              <a:chExt cx="1364045" cy="1631727"/>
            </a:xfrm>
          </p:grpSpPr>
          <p:sp>
            <p:nvSpPr>
              <p:cNvPr id="55" name="Rectangle 54">
                <a:extLst>
                  <a:ext uri="{FF2B5EF4-FFF2-40B4-BE49-F238E27FC236}">
                    <a16:creationId xmlns:a16="http://schemas.microsoft.com/office/drawing/2014/main" id="{EB2CE848-C17F-812F-332C-27A3B4B8EA5D}"/>
                  </a:ext>
                </a:extLst>
              </p:cNvPr>
              <p:cNvSpPr/>
              <p:nvPr/>
            </p:nvSpPr>
            <p:spPr>
              <a:xfrm>
                <a:off x="6014656" y="2443158"/>
                <a:ext cx="1364044" cy="1631727"/>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Open-source LLM</a:t>
                </a:r>
              </a:p>
            </p:txBody>
          </p:sp>
          <p:sp>
            <p:nvSpPr>
              <p:cNvPr id="57" name="TextBox 56">
                <a:extLst>
                  <a:ext uri="{FF2B5EF4-FFF2-40B4-BE49-F238E27FC236}">
                    <a16:creationId xmlns:a16="http://schemas.microsoft.com/office/drawing/2014/main" id="{9EAFF4B7-6A5B-4336-0B1A-977844A0B9F5}"/>
                  </a:ext>
                </a:extLst>
              </p:cNvPr>
              <p:cNvSpPr txBox="1"/>
              <p:nvPr/>
            </p:nvSpPr>
            <p:spPr>
              <a:xfrm>
                <a:off x="6014655" y="3763640"/>
                <a:ext cx="1364045"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200" i="1" dirty="0">
                    <a:solidFill>
                      <a:schemeClr val="tx1"/>
                    </a:solidFill>
                  </a:rPr>
                  <a:t>MPT-7B-Instruct</a:t>
                </a:r>
                <a:endParaRPr lang="en-US" sz="1200" i="1" dirty="0"/>
              </a:p>
            </p:txBody>
          </p:sp>
        </p:grpSp>
        <p:pic>
          <p:nvPicPr>
            <p:cNvPr id="60" name="Picture 59">
              <a:extLst>
                <a:ext uri="{FF2B5EF4-FFF2-40B4-BE49-F238E27FC236}">
                  <a16:creationId xmlns:a16="http://schemas.microsoft.com/office/drawing/2014/main" id="{02C6E3B0-C4EB-8E03-512F-2B0639F12FEF}"/>
                </a:ext>
              </a:extLst>
            </p:cNvPr>
            <p:cNvPicPr>
              <a:picLocks noChangeAspect="1"/>
            </p:cNvPicPr>
            <p:nvPr/>
          </p:nvPicPr>
          <p:blipFill>
            <a:blip r:embed="rId8"/>
            <a:stretch>
              <a:fillRect/>
            </a:stretch>
          </p:blipFill>
          <p:spPr>
            <a:xfrm>
              <a:off x="8191266" y="2448278"/>
              <a:ext cx="1328291" cy="341274"/>
            </a:xfrm>
            <a:prstGeom prst="rect">
              <a:avLst/>
            </a:prstGeom>
          </p:spPr>
        </p:pic>
      </p:grpSp>
      <p:cxnSp>
        <p:nvCxnSpPr>
          <p:cNvPr id="1027" name="Straight Arrow Connector 1026">
            <a:extLst>
              <a:ext uri="{FF2B5EF4-FFF2-40B4-BE49-F238E27FC236}">
                <a16:creationId xmlns:a16="http://schemas.microsoft.com/office/drawing/2014/main" id="{105CAF93-6066-E73B-3FC5-6BEFA92E456E}"/>
              </a:ext>
            </a:extLst>
          </p:cNvPr>
          <p:cNvCxnSpPr>
            <a:cxnSpLocks/>
            <a:stCxn id="25" idx="3"/>
            <a:endCxn id="41" idx="1"/>
          </p:cNvCxnSpPr>
          <p:nvPr/>
        </p:nvCxnSpPr>
        <p:spPr>
          <a:xfrm>
            <a:off x="6790861" y="5287108"/>
            <a:ext cx="1122084" cy="0"/>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68022072-BB6D-016E-BF5A-DF05DFA23792}"/>
              </a:ext>
            </a:extLst>
          </p:cNvPr>
          <p:cNvSpPr txBox="1"/>
          <p:nvPr/>
        </p:nvSpPr>
        <p:spPr>
          <a:xfrm>
            <a:off x="3137874" y="4975101"/>
            <a:ext cx="2154644"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Generate embeddings</a:t>
            </a:r>
            <a:endParaRPr lang="en-US" sz="1100" dirty="0">
              <a:solidFill>
                <a:srgbClr val="FFFFFF"/>
              </a:solidFill>
            </a:endParaRPr>
          </a:p>
        </p:txBody>
      </p:sp>
      <p:sp>
        <p:nvSpPr>
          <p:cNvPr id="1032" name="TextBox 1031">
            <a:extLst>
              <a:ext uri="{FF2B5EF4-FFF2-40B4-BE49-F238E27FC236}">
                <a16:creationId xmlns:a16="http://schemas.microsoft.com/office/drawing/2014/main" id="{E441AF77-1CE6-3C0D-8F3E-DAE5AA85D1E3}"/>
              </a:ext>
            </a:extLst>
          </p:cNvPr>
          <p:cNvSpPr txBox="1"/>
          <p:nvPr/>
        </p:nvSpPr>
        <p:spPr>
          <a:xfrm>
            <a:off x="1384218" y="3616607"/>
            <a:ext cx="956720" cy="4308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Extract and split text</a:t>
            </a:r>
            <a:endParaRPr lang="en-US" sz="1100" dirty="0">
              <a:solidFill>
                <a:srgbClr val="FFFFFF"/>
              </a:solidFill>
            </a:endParaRPr>
          </a:p>
        </p:txBody>
      </p:sp>
      <p:sp>
        <p:nvSpPr>
          <p:cNvPr id="1033" name="TextBox 1032">
            <a:extLst>
              <a:ext uri="{FF2B5EF4-FFF2-40B4-BE49-F238E27FC236}">
                <a16:creationId xmlns:a16="http://schemas.microsoft.com/office/drawing/2014/main" id="{E50C26E9-C336-DCF5-8BAA-ABA785022B66}"/>
              </a:ext>
            </a:extLst>
          </p:cNvPr>
          <p:cNvSpPr txBox="1"/>
          <p:nvPr/>
        </p:nvSpPr>
        <p:spPr>
          <a:xfrm>
            <a:off x="6863105" y="4807920"/>
            <a:ext cx="956720" cy="4308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Index and save</a:t>
            </a:r>
            <a:endParaRPr lang="en-US" sz="1100" dirty="0">
              <a:solidFill>
                <a:srgbClr val="FFFFFF"/>
              </a:solidFill>
            </a:endParaRPr>
          </a:p>
        </p:txBody>
      </p:sp>
      <p:cxnSp>
        <p:nvCxnSpPr>
          <p:cNvPr id="1034" name="Straight Arrow Connector 1033">
            <a:extLst>
              <a:ext uri="{FF2B5EF4-FFF2-40B4-BE49-F238E27FC236}">
                <a16:creationId xmlns:a16="http://schemas.microsoft.com/office/drawing/2014/main" id="{9F96773E-93A1-FC91-9100-35A2BF9B9E4D}"/>
              </a:ext>
            </a:extLst>
          </p:cNvPr>
          <p:cNvCxnSpPr>
            <a:cxnSpLocks/>
            <a:stCxn id="13" idx="3"/>
            <a:endCxn id="25" idx="1"/>
          </p:cNvCxnSpPr>
          <p:nvPr/>
        </p:nvCxnSpPr>
        <p:spPr>
          <a:xfrm>
            <a:off x="3024593" y="5287108"/>
            <a:ext cx="2402224" cy="0"/>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37" name="Straight Arrow Connector 1036">
            <a:extLst>
              <a:ext uri="{FF2B5EF4-FFF2-40B4-BE49-F238E27FC236}">
                <a16:creationId xmlns:a16="http://schemas.microsoft.com/office/drawing/2014/main" id="{E903B04F-FB4D-63D1-7337-3452EF0A8A2F}"/>
              </a:ext>
            </a:extLst>
          </p:cNvPr>
          <p:cNvCxnSpPr>
            <a:cxnSpLocks/>
            <a:stCxn id="4" idx="2"/>
            <a:endCxn id="13" idx="0"/>
          </p:cNvCxnSpPr>
          <p:nvPr/>
        </p:nvCxnSpPr>
        <p:spPr>
          <a:xfrm>
            <a:off x="2304322" y="3391254"/>
            <a:ext cx="0" cy="1000957"/>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041" name="Rectangle: Rounded Corners 1040">
            <a:extLst>
              <a:ext uri="{FF2B5EF4-FFF2-40B4-BE49-F238E27FC236}">
                <a16:creationId xmlns:a16="http://schemas.microsoft.com/office/drawing/2014/main" id="{4A8DCFAD-27CD-E9DE-D32A-780C55F15292}"/>
              </a:ext>
            </a:extLst>
          </p:cNvPr>
          <p:cNvSpPr/>
          <p:nvPr/>
        </p:nvSpPr>
        <p:spPr>
          <a:xfrm>
            <a:off x="7912942" y="1601461"/>
            <a:ext cx="1364044" cy="734786"/>
          </a:xfrm>
          <a:prstGeom prst="roundRect">
            <a:avLst>
              <a:gd name="adj" fmla="val 0"/>
            </a:avLst>
          </a:prstGeom>
          <a:solidFill>
            <a:srgbClr val="FFFFFF"/>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Relevant Document Chunks</a:t>
            </a:r>
            <a:endParaRPr lang="en-US" sz="1200" b="1" dirty="0">
              <a:solidFill>
                <a:srgbClr val="FFFFFF"/>
              </a:solidFill>
            </a:endParaRPr>
          </a:p>
        </p:txBody>
      </p:sp>
      <p:cxnSp>
        <p:nvCxnSpPr>
          <p:cNvPr id="1042" name="Straight Arrow Connector 1041">
            <a:extLst>
              <a:ext uri="{FF2B5EF4-FFF2-40B4-BE49-F238E27FC236}">
                <a16:creationId xmlns:a16="http://schemas.microsoft.com/office/drawing/2014/main" id="{A27509E0-2790-6A39-B11F-336675A74180}"/>
              </a:ext>
            </a:extLst>
          </p:cNvPr>
          <p:cNvCxnSpPr>
            <a:cxnSpLocks/>
          </p:cNvCxnSpPr>
          <p:nvPr/>
        </p:nvCxnSpPr>
        <p:spPr>
          <a:xfrm flipH="1">
            <a:off x="4387485" y="3421353"/>
            <a:ext cx="7170" cy="1511294"/>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47" name="Straight Arrow Connector 1046">
            <a:extLst>
              <a:ext uri="{FF2B5EF4-FFF2-40B4-BE49-F238E27FC236}">
                <a16:creationId xmlns:a16="http://schemas.microsoft.com/office/drawing/2014/main" id="{AA361EA2-B4DF-B5E9-18F8-2A84BF2BFA45}"/>
              </a:ext>
            </a:extLst>
          </p:cNvPr>
          <p:cNvCxnSpPr>
            <a:cxnSpLocks/>
          </p:cNvCxnSpPr>
          <p:nvPr/>
        </p:nvCxnSpPr>
        <p:spPr>
          <a:xfrm flipV="1">
            <a:off x="4108345" y="3405481"/>
            <a:ext cx="0" cy="1511294"/>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51" name="Straight Arrow Connector 1050">
            <a:extLst>
              <a:ext uri="{FF2B5EF4-FFF2-40B4-BE49-F238E27FC236}">
                <a16:creationId xmlns:a16="http://schemas.microsoft.com/office/drawing/2014/main" id="{A8B6F34F-4F8D-9061-04C4-C0185387917B}"/>
              </a:ext>
            </a:extLst>
          </p:cNvPr>
          <p:cNvCxnSpPr>
            <a:cxnSpLocks/>
            <a:stCxn id="53" idx="2"/>
            <a:endCxn id="31" idx="0"/>
          </p:cNvCxnSpPr>
          <p:nvPr/>
        </p:nvCxnSpPr>
        <p:spPr>
          <a:xfrm flipH="1">
            <a:off x="4258333" y="1025285"/>
            <a:ext cx="1432" cy="576176"/>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55" name="Straight Arrow Connector 1054">
            <a:extLst>
              <a:ext uri="{FF2B5EF4-FFF2-40B4-BE49-F238E27FC236}">
                <a16:creationId xmlns:a16="http://schemas.microsoft.com/office/drawing/2014/main" id="{A8BCE908-562F-732B-9C13-EBB58A6D1DC3}"/>
              </a:ext>
            </a:extLst>
          </p:cNvPr>
          <p:cNvCxnSpPr>
            <a:cxnSpLocks/>
            <a:stCxn id="1111" idx="3"/>
            <a:endCxn id="41" idx="0"/>
          </p:cNvCxnSpPr>
          <p:nvPr/>
        </p:nvCxnSpPr>
        <p:spPr>
          <a:xfrm>
            <a:off x="6790861" y="2496358"/>
            <a:ext cx="1804106" cy="1895853"/>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58" name="Straight Arrow Connector 1057">
            <a:extLst>
              <a:ext uri="{FF2B5EF4-FFF2-40B4-BE49-F238E27FC236}">
                <a16:creationId xmlns:a16="http://schemas.microsoft.com/office/drawing/2014/main" id="{B1519FBB-9F92-BBD6-D4B4-B4DC2A5C7E0B}"/>
              </a:ext>
            </a:extLst>
          </p:cNvPr>
          <p:cNvCxnSpPr>
            <a:cxnSpLocks/>
            <a:stCxn id="41" idx="0"/>
            <a:endCxn id="1041" idx="2"/>
          </p:cNvCxnSpPr>
          <p:nvPr/>
        </p:nvCxnSpPr>
        <p:spPr>
          <a:xfrm flipH="1" flipV="1">
            <a:off x="8594964" y="2336247"/>
            <a:ext cx="3" cy="2055964"/>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71" name="Straight Arrow Connector 1070">
            <a:extLst>
              <a:ext uri="{FF2B5EF4-FFF2-40B4-BE49-F238E27FC236}">
                <a16:creationId xmlns:a16="http://schemas.microsoft.com/office/drawing/2014/main" id="{DB5492AB-4EDE-9D89-3276-45F645CAB966}"/>
              </a:ext>
            </a:extLst>
          </p:cNvPr>
          <p:cNvCxnSpPr>
            <a:cxnSpLocks/>
            <a:stCxn id="1041" idx="0"/>
            <a:endCxn id="1084" idx="2"/>
          </p:cNvCxnSpPr>
          <p:nvPr/>
        </p:nvCxnSpPr>
        <p:spPr>
          <a:xfrm flipV="1">
            <a:off x="8594964" y="1025285"/>
            <a:ext cx="0" cy="576176"/>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075" name="Straight Arrow Connector 1074">
            <a:extLst>
              <a:ext uri="{FF2B5EF4-FFF2-40B4-BE49-F238E27FC236}">
                <a16:creationId xmlns:a16="http://schemas.microsoft.com/office/drawing/2014/main" id="{F4C7B292-466A-4855-05C0-6DA49D97D4E5}"/>
              </a:ext>
            </a:extLst>
          </p:cNvPr>
          <p:cNvCxnSpPr>
            <a:cxnSpLocks/>
            <a:stCxn id="55" idx="2"/>
            <a:endCxn id="1080" idx="0"/>
          </p:cNvCxnSpPr>
          <p:nvPr/>
        </p:nvCxnSpPr>
        <p:spPr>
          <a:xfrm>
            <a:off x="10605346" y="3276352"/>
            <a:ext cx="1" cy="1115859"/>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080" name="Rectangle: Rounded Corners 1079">
            <a:extLst>
              <a:ext uri="{FF2B5EF4-FFF2-40B4-BE49-F238E27FC236}">
                <a16:creationId xmlns:a16="http://schemas.microsoft.com/office/drawing/2014/main" id="{4CD32B8C-8B61-FB5A-A743-BEC0A530EC00}"/>
              </a:ext>
            </a:extLst>
          </p:cNvPr>
          <p:cNvSpPr/>
          <p:nvPr/>
        </p:nvSpPr>
        <p:spPr>
          <a:xfrm>
            <a:off x="9900122" y="4392211"/>
            <a:ext cx="1410450" cy="734786"/>
          </a:xfrm>
          <a:prstGeom prst="roundRect">
            <a:avLst>
              <a:gd name="adj" fmla="val 0"/>
            </a:avLst>
          </a:prstGeom>
          <a:solidFill>
            <a:srgbClr val="30C1D7"/>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FFFFFF"/>
                </a:solidFill>
              </a:rPr>
              <a:t>Answer</a:t>
            </a:r>
          </a:p>
        </p:txBody>
      </p:sp>
      <p:cxnSp>
        <p:nvCxnSpPr>
          <p:cNvPr id="1083" name="Connector: Elbow 1082">
            <a:extLst>
              <a:ext uri="{FF2B5EF4-FFF2-40B4-BE49-F238E27FC236}">
                <a16:creationId xmlns:a16="http://schemas.microsoft.com/office/drawing/2014/main" id="{A62A1A47-B27F-55D8-ECD2-18DF90BB7A4C}"/>
              </a:ext>
            </a:extLst>
          </p:cNvPr>
          <p:cNvCxnSpPr>
            <a:cxnSpLocks/>
            <a:stCxn id="1084" idx="3"/>
            <a:endCxn id="55" idx="0"/>
          </p:cNvCxnSpPr>
          <p:nvPr/>
        </p:nvCxnSpPr>
        <p:spPr>
          <a:xfrm>
            <a:off x="9276986" y="657892"/>
            <a:ext cx="1328360" cy="986733"/>
          </a:xfrm>
          <a:prstGeom prst="bentConnector2">
            <a:avLst/>
          </a:prstGeom>
          <a:ln w="12700" cap="rnd">
            <a:solidFill>
              <a:schemeClr val="bg1">
                <a:lumMod val="5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1084" name="Rectangle: Rounded Corners 1083">
            <a:extLst>
              <a:ext uri="{FF2B5EF4-FFF2-40B4-BE49-F238E27FC236}">
                <a16:creationId xmlns:a16="http://schemas.microsoft.com/office/drawing/2014/main" id="{A18038D0-F667-863B-6A7E-EDBF6F2BC207}"/>
              </a:ext>
            </a:extLst>
          </p:cNvPr>
          <p:cNvSpPr/>
          <p:nvPr/>
        </p:nvSpPr>
        <p:spPr>
          <a:xfrm>
            <a:off x="7912942" y="290499"/>
            <a:ext cx="1364044" cy="734786"/>
          </a:xfrm>
          <a:prstGeom prst="roundRect">
            <a:avLst>
              <a:gd name="adj" fmla="val 0"/>
            </a:avLst>
          </a:prstGeom>
          <a:solidFill>
            <a:srgbClr val="FFFFFF"/>
          </a:solidFill>
          <a:ln w="1905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Prompt: User Query and Relevant Chunks</a:t>
            </a:r>
            <a:endParaRPr lang="en-US" sz="1200" b="1" dirty="0">
              <a:solidFill>
                <a:srgbClr val="FFFFFF"/>
              </a:solidFill>
            </a:endParaRPr>
          </a:p>
        </p:txBody>
      </p:sp>
      <p:cxnSp>
        <p:nvCxnSpPr>
          <p:cNvPr id="1087" name="Straight Arrow Connector 1086">
            <a:extLst>
              <a:ext uri="{FF2B5EF4-FFF2-40B4-BE49-F238E27FC236}">
                <a16:creationId xmlns:a16="http://schemas.microsoft.com/office/drawing/2014/main" id="{FE65F6F3-775F-BE10-AAC8-CD4BD0873D7C}"/>
              </a:ext>
            </a:extLst>
          </p:cNvPr>
          <p:cNvCxnSpPr>
            <a:cxnSpLocks/>
            <a:stCxn id="53" idx="3"/>
            <a:endCxn id="1084" idx="1"/>
          </p:cNvCxnSpPr>
          <p:nvPr/>
        </p:nvCxnSpPr>
        <p:spPr>
          <a:xfrm>
            <a:off x="4964990" y="657892"/>
            <a:ext cx="2947952" cy="0"/>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092" name="TextBox 1091">
            <a:extLst>
              <a:ext uri="{FF2B5EF4-FFF2-40B4-BE49-F238E27FC236}">
                <a16:creationId xmlns:a16="http://schemas.microsoft.com/office/drawing/2014/main" id="{6EE7149A-B12A-972D-529B-D0F14D195DDA}"/>
              </a:ext>
            </a:extLst>
          </p:cNvPr>
          <p:cNvSpPr txBox="1"/>
          <p:nvPr/>
        </p:nvSpPr>
        <p:spPr>
          <a:xfrm>
            <a:off x="6492477" y="3377369"/>
            <a:ext cx="1773314" cy="4308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Similarity </a:t>
            </a:r>
            <a:br>
              <a:rPr lang="en-US" sz="1100" dirty="0">
                <a:solidFill>
                  <a:schemeClr val="tx1"/>
                </a:solidFill>
              </a:rPr>
            </a:br>
            <a:r>
              <a:rPr lang="en-US" sz="1100" dirty="0">
                <a:solidFill>
                  <a:schemeClr val="tx1"/>
                </a:solidFill>
              </a:rPr>
              <a:t>search</a:t>
            </a:r>
            <a:endParaRPr lang="en-US" sz="1100" dirty="0">
              <a:solidFill>
                <a:srgbClr val="FFFFFF"/>
              </a:solidFill>
            </a:endParaRPr>
          </a:p>
        </p:txBody>
      </p:sp>
      <p:sp>
        <p:nvSpPr>
          <p:cNvPr id="1093" name="TextBox 1092">
            <a:extLst>
              <a:ext uri="{FF2B5EF4-FFF2-40B4-BE49-F238E27FC236}">
                <a16:creationId xmlns:a16="http://schemas.microsoft.com/office/drawing/2014/main" id="{91C4417C-59FF-1791-D772-AFACEC1F3C91}"/>
              </a:ext>
            </a:extLst>
          </p:cNvPr>
          <p:cNvSpPr txBox="1"/>
          <p:nvPr/>
        </p:nvSpPr>
        <p:spPr>
          <a:xfrm>
            <a:off x="8445591" y="2998751"/>
            <a:ext cx="956720"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Retrieval</a:t>
            </a:r>
            <a:endParaRPr lang="en-US" sz="1100" dirty="0">
              <a:solidFill>
                <a:srgbClr val="FFFFFF"/>
              </a:solidFill>
            </a:endParaRPr>
          </a:p>
        </p:txBody>
      </p:sp>
      <p:grpSp>
        <p:nvGrpSpPr>
          <p:cNvPr id="1100" name="Group 1099">
            <a:extLst>
              <a:ext uri="{FF2B5EF4-FFF2-40B4-BE49-F238E27FC236}">
                <a16:creationId xmlns:a16="http://schemas.microsoft.com/office/drawing/2014/main" id="{BFD75633-4025-D8B6-3C4F-D15D5098F2ED}"/>
              </a:ext>
            </a:extLst>
          </p:cNvPr>
          <p:cNvGrpSpPr/>
          <p:nvPr/>
        </p:nvGrpSpPr>
        <p:grpSpPr>
          <a:xfrm>
            <a:off x="1584051" y="1601461"/>
            <a:ext cx="1440541" cy="1789793"/>
            <a:chOff x="1093965" y="2011656"/>
            <a:chExt cx="1364044" cy="1789793"/>
          </a:xfrm>
        </p:grpSpPr>
        <p:sp>
          <p:nvSpPr>
            <p:cNvPr id="4" name="Rectangle 3">
              <a:extLst>
                <a:ext uri="{FF2B5EF4-FFF2-40B4-BE49-F238E27FC236}">
                  <a16:creationId xmlns:a16="http://schemas.microsoft.com/office/drawing/2014/main" id="{2A544D1A-A28C-4BE9-28BB-3D20D3E0ED79}"/>
                </a:ext>
              </a:extLst>
            </p:cNvPr>
            <p:cNvSpPr/>
            <p:nvPr/>
          </p:nvSpPr>
          <p:spPr>
            <a:xfrm>
              <a:off x="1093965" y="2011656"/>
              <a:ext cx="1364044" cy="1789793"/>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Documents</a:t>
              </a:r>
            </a:p>
            <a:p>
              <a:pPr algn="ctr"/>
              <a:r>
                <a:rPr lang="en-US" sz="1200" dirty="0">
                  <a:solidFill>
                    <a:schemeClr val="tx1"/>
                  </a:solidFill>
                </a:rPr>
                <a:t>(e.g., PDF files)</a:t>
              </a:r>
            </a:p>
          </p:txBody>
        </p:sp>
        <p:pic>
          <p:nvPicPr>
            <p:cNvPr id="1095" name="Picture 1094">
              <a:extLst>
                <a:ext uri="{FF2B5EF4-FFF2-40B4-BE49-F238E27FC236}">
                  <a16:creationId xmlns:a16="http://schemas.microsoft.com/office/drawing/2014/main" id="{B7A6EB02-D065-C92B-412D-955BF4EAC717}"/>
                </a:ext>
              </a:extLst>
            </p:cNvPr>
            <p:cNvPicPr>
              <a:picLocks noChangeAspect="1"/>
            </p:cNvPicPr>
            <p:nvPr/>
          </p:nvPicPr>
          <p:blipFill>
            <a:blip r:embed="rId9"/>
            <a:stretch>
              <a:fillRect/>
            </a:stretch>
          </p:blipFill>
          <p:spPr>
            <a:xfrm>
              <a:off x="1251764" y="2427656"/>
              <a:ext cx="1048446" cy="1340256"/>
            </a:xfrm>
            <a:prstGeom prst="rect">
              <a:avLst/>
            </a:prstGeom>
          </p:spPr>
        </p:pic>
      </p:grpSp>
      <p:sp>
        <p:nvSpPr>
          <p:cNvPr id="1103" name="TextBox 1102">
            <a:extLst>
              <a:ext uri="{FF2B5EF4-FFF2-40B4-BE49-F238E27FC236}">
                <a16:creationId xmlns:a16="http://schemas.microsoft.com/office/drawing/2014/main" id="{6C92AF2F-3869-67CD-9AC4-B0777FA963D9}"/>
              </a:ext>
            </a:extLst>
          </p:cNvPr>
          <p:cNvSpPr txBox="1"/>
          <p:nvPr/>
        </p:nvSpPr>
        <p:spPr>
          <a:xfrm>
            <a:off x="4374152" y="3770327"/>
            <a:ext cx="1112003" cy="4308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Vector representation</a:t>
            </a:r>
            <a:endParaRPr lang="en-US" sz="1100" dirty="0">
              <a:solidFill>
                <a:srgbClr val="FFFFFF"/>
              </a:solidFill>
            </a:endParaRPr>
          </a:p>
        </p:txBody>
      </p:sp>
      <p:sp>
        <p:nvSpPr>
          <p:cNvPr id="1106" name="TextBox 1105">
            <a:extLst>
              <a:ext uri="{FF2B5EF4-FFF2-40B4-BE49-F238E27FC236}">
                <a16:creationId xmlns:a16="http://schemas.microsoft.com/office/drawing/2014/main" id="{5AA4EE17-388B-5D92-DBC6-F546A56EE8FC}"/>
              </a:ext>
            </a:extLst>
          </p:cNvPr>
          <p:cNvSpPr txBox="1"/>
          <p:nvPr/>
        </p:nvSpPr>
        <p:spPr>
          <a:xfrm>
            <a:off x="3127850" y="3854965"/>
            <a:ext cx="1112003"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100" dirty="0">
                <a:solidFill>
                  <a:schemeClr val="tx1"/>
                </a:solidFill>
              </a:rPr>
              <a:t>Data chunk</a:t>
            </a:r>
            <a:endParaRPr lang="en-US" sz="1100" dirty="0">
              <a:solidFill>
                <a:srgbClr val="FFFFFF"/>
              </a:solidFill>
            </a:endParaRPr>
          </a:p>
        </p:txBody>
      </p:sp>
      <p:grpSp>
        <p:nvGrpSpPr>
          <p:cNvPr id="1110" name="Group 1109">
            <a:extLst>
              <a:ext uri="{FF2B5EF4-FFF2-40B4-BE49-F238E27FC236}">
                <a16:creationId xmlns:a16="http://schemas.microsoft.com/office/drawing/2014/main" id="{072B07BF-175A-2ED9-29EC-5B74118635F5}"/>
              </a:ext>
            </a:extLst>
          </p:cNvPr>
          <p:cNvGrpSpPr/>
          <p:nvPr/>
        </p:nvGrpSpPr>
        <p:grpSpPr>
          <a:xfrm>
            <a:off x="5426817" y="1601461"/>
            <a:ext cx="1364044" cy="1789793"/>
            <a:chOff x="7660039" y="4533897"/>
            <a:chExt cx="1364044" cy="1789793"/>
          </a:xfrm>
        </p:grpSpPr>
        <p:sp>
          <p:nvSpPr>
            <p:cNvPr id="1111" name="Rectangle 1110">
              <a:extLst>
                <a:ext uri="{FF2B5EF4-FFF2-40B4-BE49-F238E27FC236}">
                  <a16:creationId xmlns:a16="http://schemas.microsoft.com/office/drawing/2014/main" id="{25FE366F-CE8B-0EE1-C300-093FF780ABDA}"/>
                </a:ext>
              </a:extLst>
            </p:cNvPr>
            <p:cNvSpPr/>
            <p:nvPr/>
          </p:nvSpPr>
          <p:spPr>
            <a:xfrm>
              <a:off x="7660039" y="4533897"/>
              <a:ext cx="1364044" cy="1789793"/>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rPr>
                <a:t>Query Vector Embeddings</a:t>
              </a:r>
              <a:endParaRPr lang="en-US" sz="1200" dirty="0">
                <a:solidFill>
                  <a:schemeClr val="tx1"/>
                </a:solidFill>
              </a:endParaRPr>
            </a:p>
          </p:txBody>
        </p:sp>
        <p:sp>
          <p:nvSpPr>
            <p:cNvPr id="1112" name="Rectangle 1111">
              <a:extLst>
                <a:ext uri="{FF2B5EF4-FFF2-40B4-BE49-F238E27FC236}">
                  <a16:creationId xmlns:a16="http://schemas.microsoft.com/office/drawing/2014/main" id="{7BCC32BF-902B-9A5E-1902-ED3289738821}"/>
                </a:ext>
              </a:extLst>
            </p:cNvPr>
            <p:cNvSpPr/>
            <p:nvPr/>
          </p:nvSpPr>
          <p:spPr>
            <a:xfrm>
              <a:off x="7991431" y="4996989"/>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91</a:t>
              </a:r>
            </a:p>
          </p:txBody>
        </p:sp>
        <p:sp>
          <p:nvSpPr>
            <p:cNvPr id="1113" name="Rectangle 1112">
              <a:extLst>
                <a:ext uri="{FF2B5EF4-FFF2-40B4-BE49-F238E27FC236}">
                  <a16:creationId xmlns:a16="http://schemas.microsoft.com/office/drawing/2014/main" id="{B75649FF-BA25-F8CE-08D2-693E682C5A7B}"/>
                </a:ext>
              </a:extLst>
            </p:cNvPr>
            <p:cNvSpPr/>
            <p:nvPr/>
          </p:nvSpPr>
          <p:spPr>
            <a:xfrm>
              <a:off x="7991431" y="5251448"/>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33</a:t>
              </a:r>
            </a:p>
          </p:txBody>
        </p:sp>
        <p:sp>
          <p:nvSpPr>
            <p:cNvPr id="1114" name="Rectangle 1113">
              <a:extLst>
                <a:ext uri="{FF2B5EF4-FFF2-40B4-BE49-F238E27FC236}">
                  <a16:creationId xmlns:a16="http://schemas.microsoft.com/office/drawing/2014/main" id="{5D360DD5-249D-26A7-3421-104E5B5B9834}"/>
                </a:ext>
              </a:extLst>
            </p:cNvPr>
            <p:cNvSpPr/>
            <p:nvPr/>
          </p:nvSpPr>
          <p:spPr>
            <a:xfrm>
              <a:off x="7991431" y="5496832"/>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02</a:t>
              </a:r>
            </a:p>
          </p:txBody>
        </p:sp>
        <p:sp>
          <p:nvSpPr>
            <p:cNvPr id="1115" name="Rectangle 1114">
              <a:extLst>
                <a:ext uri="{FF2B5EF4-FFF2-40B4-BE49-F238E27FC236}">
                  <a16:creationId xmlns:a16="http://schemas.microsoft.com/office/drawing/2014/main" id="{FF84796E-8E5B-BF1D-AD79-5216A3C8FBC9}"/>
                </a:ext>
              </a:extLst>
            </p:cNvPr>
            <p:cNvSpPr/>
            <p:nvPr/>
          </p:nvSpPr>
          <p:spPr>
            <a:xfrm>
              <a:off x="7991431" y="5744937"/>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a:t>
              </a:r>
            </a:p>
          </p:txBody>
        </p:sp>
        <p:sp>
          <p:nvSpPr>
            <p:cNvPr id="1116" name="Rectangle 1115">
              <a:extLst>
                <a:ext uri="{FF2B5EF4-FFF2-40B4-BE49-F238E27FC236}">
                  <a16:creationId xmlns:a16="http://schemas.microsoft.com/office/drawing/2014/main" id="{B962BF15-0174-445A-6AA4-8CA4CA73C6DE}"/>
                </a:ext>
              </a:extLst>
            </p:cNvPr>
            <p:cNvSpPr/>
            <p:nvPr/>
          </p:nvSpPr>
          <p:spPr>
            <a:xfrm>
              <a:off x="7991431" y="5996675"/>
              <a:ext cx="701260" cy="254459"/>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0.016</a:t>
              </a:r>
            </a:p>
          </p:txBody>
        </p:sp>
      </p:grpSp>
      <p:cxnSp>
        <p:nvCxnSpPr>
          <p:cNvPr id="1123" name="Straight Arrow Connector 1122">
            <a:extLst>
              <a:ext uri="{FF2B5EF4-FFF2-40B4-BE49-F238E27FC236}">
                <a16:creationId xmlns:a16="http://schemas.microsoft.com/office/drawing/2014/main" id="{79C0BCCA-482E-CBE0-9394-C2C423AC51FA}"/>
              </a:ext>
            </a:extLst>
          </p:cNvPr>
          <p:cNvCxnSpPr>
            <a:cxnSpLocks/>
            <a:stCxn id="31" idx="3"/>
            <a:endCxn id="1111" idx="1"/>
          </p:cNvCxnSpPr>
          <p:nvPr/>
        </p:nvCxnSpPr>
        <p:spPr>
          <a:xfrm>
            <a:off x="4940355" y="2496358"/>
            <a:ext cx="486462" cy="0"/>
          </a:xfrm>
          <a:prstGeom prst="straightConnector1">
            <a:avLst/>
          </a:prstGeom>
          <a:ln w="12700" cap="rnd" cmpd="sng" algn="ctr">
            <a:solidFill>
              <a:schemeClr val="bg1">
                <a:lumMod val="50000"/>
              </a:schemeClr>
            </a:solidFill>
            <a:prstDash val="solid"/>
            <a:round/>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787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30</TotalTime>
  <Words>135</Words>
  <Application>Microsoft Office PowerPoint</Application>
  <PresentationFormat>Widescreen</PresentationFormat>
  <Paragraphs>77</Paragraphs>
  <Slides>2</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7" baseType="lpstr">
      <vt:lpstr>Arial</vt:lpstr>
      <vt:lpstr>Trebuchet MS</vt:lpstr>
      <vt:lpstr>BCG Grid 16:9</vt:lpstr>
      <vt:lpstr>think-cell Slide</vt:lpstr>
      <vt:lpstr>16-bit floating point value (FP16)</vt:lpstr>
      <vt:lpstr>PowerPoint Presentation</vt:lpstr>
      <vt:lpstr>Format Guide Workshop</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ung, Kenneth</dc:creator>
  <cp:lastModifiedBy>Leung, Kenneth</cp:lastModifiedBy>
  <cp:revision>1</cp:revision>
  <cp:lastPrinted>2016-04-06T18:59:25Z</cp:lastPrinted>
  <dcterms:created xsi:type="dcterms:W3CDTF">2023-07-10T06:16:05Z</dcterms:created>
  <dcterms:modified xsi:type="dcterms:W3CDTF">2023-07-10T08:4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3-07-10T06:56:59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896e7c0a-ffb3-4560-895f-6d15fbd7f524</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